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3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5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53" r:id="rId5"/>
    <p:sldMasterId id="2147484035" r:id="rId6"/>
    <p:sldMasterId id="2147484050" r:id="rId7"/>
    <p:sldMasterId id="2147484082" r:id="rId8"/>
  </p:sldMasterIdLst>
  <p:notesMasterIdLst>
    <p:notesMasterId r:id="rId11"/>
  </p:notesMasterIdLst>
  <p:sldIdLst>
    <p:sldId id="335" r:id="rId9"/>
    <p:sldId id="459" r:id="rId10"/>
  </p:sldIdLst>
  <p:sldSz cx="12192000" cy="6858000"/>
  <p:notesSz cx="6858000" cy="9144000"/>
  <p:custDataLst>
    <p:tags r:id="rId12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4A0E57BC-7EC6-48ED-BEF0-F96847B73D25}">
          <p14:sldIdLst>
            <p14:sldId id="335"/>
            <p14:sldId id="4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BF97"/>
    <a:srgbClr val="FFFFFF"/>
    <a:srgbClr val="FFFF00"/>
    <a:srgbClr val="EAEADE"/>
    <a:srgbClr val="7EFF45"/>
    <a:srgbClr val="15BF45"/>
    <a:srgbClr val="D9D9D9"/>
    <a:srgbClr val="004C14"/>
    <a:srgbClr val="000000"/>
    <a:srgbClr val="014B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87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3E0E8F-3317-4FCD-A7C8-A56C10AA5782}" type="datetimeFigureOut">
              <a:rPr lang="es-CL" smtClean="0"/>
              <a:t>02-09-2024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C5EFB1-9FBD-4CAE-94C8-C2B5B1E1E828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84867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MX" sz="1100">
                <a:effectLst/>
                <a:latin typeface="Calibri" panose="020F0502020204030204" pitchFamily="34" charset="0"/>
              </a:rPr>
              <a:t>Analisis realizado junto a finanzas</a:t>
            </a:r>
          </a:p>
          <a:p>
            <a:pPr marL="342900" marR="0">
              <a:spcBef>
                <a:spcPts val="0"/>
              </a:spcBef>
              <a:spcAft>
                <a:spcPts val="0"/>
              </a:spcAft>
            </a:pPr>
            <a:r>
              <a:rPr lang="es-MX" sz="1100">
                <a:effectLst/>
                <a:latin typeface="Calibri" panose="020F0502020204030204" pitchFamily="34" charset="0"/>
              </a:rPr>
              <a:t> 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MX" sz="1100">
                <a:effectLst/>
                <a:latin typeface="Calibri" panose="020F0502020204030204" pitchFamily="34" charset="0"/>
              </a:rPr>
              <a:t>Supuestos: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s-MX" sz="1100" err="1">
                <a:effectLst/>
                <a:latin typeface="Calibri" panose="020F0502020204030204" pitchFamily="34" charset="0"/>
              </a:rPr>
              <a:t>N°</a:t>
            </a:r>
            <a:r>
              <a:rPr lang="es-MX" sz="1100">
                <a:effectLst/>
                <a:latin typeface="Calibri" panose="020F0502020204030204" pitchFamily="34" charset="0"/>
              </a:rPr>
              <a:t> Personas 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s-MX" sz="1100">
                <a:effectLst/>
                <a:latin typeface="Calibri" panose="020F0502020204030204" pitchFamily="34" charset="0"/>
              </a:rPr>
              <a:t>Promedio de casos diarios 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s-MX" sz="1100">
                <a:effectLst/>
                <a:latin typeface="Calibri" panose="020F0502020204030204" pitchFamily="34" charset="0"/>
              </a:rPr>
              <a:t>Enero y febrero vacaciones productividad </a:t>
            </a:r>
          </a:p>
          <a:p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C5EFB1-9FBD-4CAE-94C8-C2B5B1E1E828}" type="slidenum">
              <a:rPr lang="es-CL" smtClean="0"/>
              <a:t>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17825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Relationship Id="rId4" Type="http://schemas.openxmlformats.org/officeDocument/2006/relationships/image" Target="../media/image42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4" Type="http://schemas.openxmlformats.org/officeDocument/2006/relationships/image" Target="../media/image1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20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4" Type="http://schemas.openxmlformats.org/officeDocument/2006/relationships/image" Target="../media/image20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3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4" Type="http://schemas.openxmlformats.org/officeDocument/2006/relationships/image" Target="../media/image42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4" Type="http://schemas.openxmlformats.org/officeDocument/2006/relationships/image" Target="../media/image42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microsoft.com/office/2007/relationships/hdphoto" Target="../media/hdphoto1.wdp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48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74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49.jpe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75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50.jpe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76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51.emf"/><Relationship Id="rId4" Type="http://schemas.openxmlformats.org/officeDocument/2006/relationships/oleObject" Target="../embeddings/oleObject77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microsoft.com/office/2007/relationships/hdphoto" Target="../media/hdphoto2.wdp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53.pn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8.bin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5.jpe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54.jpeg"/><Relationship Id="rId5" Type="http://schemas.openxmlformats.org/officeDocument/2006/relationships/image" Target="../media/image52.emf"/><Relationship Id="rId10" Type="http://schemas.openxmlformats.org/officeDocument/2006/relationships/image" Target="../media/image58.jpeg"/><Relationship Id="rId4" Type="http://schemas.openxmlformats.org/officeDocument/2006/relationships/oleObject" Target="../embeddings/oleObject79.bin"/><Relationship Id="rId9" Type="http://schemas.openxmlformats.org/officeDocument/2006/relationships/image" Target="../media/image57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80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59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60.emf"/><Relationship Id="rId4" Type="http://schemas.openxmlformats.org/officeDocument/2006/relationships/oleObject" Target="../embeddings/oleObject82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60.emf"/><Relationship Id="rId4" Type="http://schemas.openxmlformats.org/officeDocument/2006/relationships/oleObject" Target="../embeddings/oleObject83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61.jpeg"/><Relationship Id="rId5" Type="http://schemas.openxmlformats.org/officeDocument/2006/relationships/image" Target="../media/image51.emf"/><Relationship Id="rId4" Type="http://schemas.openxmlformats.org/officeDocument/2006/relationships/oleObject" Target="../embeddings/oleObject84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5.xml"/><Relationship Id="rId4" Type="http://schemas.openxmlformats.org/officeDocument/2006/relationships/image" Target="../media/image42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6.xml"/><Relationship Id="rId4" Type="http://schemas.openxmlformats.org/officeDocument/2006/relationships/image" Target="../media/image42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7.xml"/><Relationship Id="rId4" Type="http://schemas.openxmlformats.org/officeDocument/2006/relationships/image" Target="../media/image42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8.xml"/><Relationship Id="rId4" Type="http://schemas.openxmlformats.org/officeDocument/2006/relationships/image" Target="../media/image4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9.xml"/><Relationship Id="rId4" Type="http://schemas.openxmlformats.org/officeDocument/2006/relationships/image" Target="../media/image42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0.xml"/><Relationship Id="rId4" Type="http://schemas.openxmlformats.org/officeDocument/2006/relationships/image" Target="../media/image42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1.xml"/><Relationship Id="rId4" Type="http://schemas.openxmlformats.org/officeDocument/2006/relationships/image" Target="../media/image42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2.xml"/><Relationship Id="rId4" Type="http://schemas.openxmlformats.org/officeDocument/2006/relationships/image" Target="../media/image42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3.xml"/><Relationship Id="rId4" Type="http://schemas.openxmlformats.org/officeDocument/2006/relationships/image" Target="../media/image42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4.xml"/><Relationship Id="rId4" Type="http://schemas.openxmlformats.org/officeDocument/2006/relationships/image" Target="../media/image42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5.xml"/><Relationship Id="rId4" Type="http://schemas.openxmlformats.org/officeDocument/2006/relationships/image" Target="../media/image1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6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0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7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3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8.xml"/><Relationship Id="rId4" Type="http://schemas.openxmlformats.org/officeDocument/2006/relationships/image" Target="../media/image42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9.xml"/><Relationship Id="rId4" Type="http://schemas.openxmlformats.org/officeDocument/2006/relationships/image" Target="../media/image42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0.xml"/><Relationship Id="rId4" Type="http://schemas.openxmlformats.org/officeDocument/2006/relationships/image" Target="../media/image1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15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1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7.png"/><Relationship Id="rId4" Type="http://schemas.openxmlformats.org/officeDocument/2006/relationships/image" Target="../media/image1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7.png"/><Relationship Id="rId4" Type="http://schemas.openxmlformats.org/officeDocument/2006/relationships/image" Target="../media/image1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20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7.png"/><Relationship Id="rId4" Type="http://schemas.openxmlformats.org/officeDocument/2006/relationships/image" Target="../media/image2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7.png"/><Relationship Id="rId4" Type="http://schemas.openxmlformats.org/officeDocument/2006/relationships/image" Target="../media/image2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7.png"/><Relationship Id="rId4" Type="http://schemas.openxmlformats.org/officeDocument/2006/relationships/image" Target="../media/image2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7.png"/><Relationship Id="rId4" Type="http://schemas.openxmlformats.org/officeDocument/2006/relationships/image" Target="../media/image2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24.bin"/><Relationship Id="rId4" Type="http://schemas.openxmlformats.org/officeDocument/2006/relationships/image" Target="../media/image2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7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7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28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29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7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5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33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3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4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7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5" Type="http://schemas.openxmlformats.org/officeDocument/2006/relationships/image" Target="../media/image7.png"/><Relationship Id="rId4" Type="http://schemas.openxmlformats.org/officeDocument/2006/relationships/image" Target="../media/image2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7.png"/><Relationship Id="rId4" Type="http://schemas.openxmlformats.org/officeDocument/2006/relationships/image" Target="../media/image15.emf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7.png"/><Relationship Id="rId4" Type="http://schemas.openxmlformats.org/officeDocument/2006/relationships/image" Target="../media/image17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7.png"/><Relationship Id="rId4" Type="http://schemas.openxmlformats.org/officeDocument/2006/relationships/image" Target="../media/image17.emf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7.png"/><Relationship Id="rId4" Type="http://schemas.openxmlformats.org/officeDocument/2006/relationships/image" Target="../media/image20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7.png"/><Relationship Id="rId4" Type="http://schemas.openxmlformats.org/officeDocument/2006/relationships/image" Target="../media/image23.emf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7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4" Type="http://schemas.openxmlformats.org/officeDocument/2006/relationships/image" Target="../media/image2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4" Type="http://schemas.openxmlformats.org/officeDocument/2006/relationships/image" Target="../media/image28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4" Type="http://schemas.openxmlformats.org/officeDocument/2006/relationships/image" Target="../media/image29.emf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13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4" Type="http://schemas.openxmlformats.org/officeDocument/2006/relationships/image" Target="../media/image7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4" Type="http://schemas.openxmlformats.org/officeDocument/2006/relationships/image" Target="../media/image4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4" Type="http://schemas.openxmlformats.org/officeDocument/2006/relationships/image" Target="../media/image42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4" Type="http://schemas.openxmlformats.org/officeDocument/2006/relationships/image" Target="../media/image4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4" Type="http://schemas.openxmlformats.org/officeDocument/2006/relationships/image" Target="../media/image42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Relationship Id="rId4" Type="http://schemas.openxmlformats.org/officeDocument/2006/relationships/image" Target="../media/image42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4" Type="http://schemas.openxmlformats.org/officeDocument/2006/relationships/image" Target="../media/image4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4" Type="http://schemas.openxmlformats.org/officeDocument/2006/relationships/image" Target="../media/image4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D59D1EF-1CFD-7CE4-757B-902A48A9D3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556" y="1909263"/>
            <a:ext cx="3039474" cy="3039474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67119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801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407FA554-FA57-934C-8095-E755D9B39B9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5476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9797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err="1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8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4"/>
            </a:solidFill>
            <a:prstDash val="solid"/>
            <a:miter lim="400000"/>
          </a:ln>
          <a:effectLst/>
          <a:sp3d/>
        </p:spPr>
      </p:cxnSp>
    </p:spTree>
    <p:extLst>
      <p:ext uri="{BB962C8B-B14F-4D97-AF65-F5344CB8AC3E}">
        <p14:creationId xmlns:p14="http://schemas.microsoft.com/office/powerpoint/2010/main" val="256520247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4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818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7551" y="427088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4548485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9586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rgbClr val="348F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40619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0620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E4945A70-3CC1-30BE-FEDB-E46736A59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BE124154-33FF-38DC-2B87-57B5985C828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3" name="Marcador de número de diapositiva 12">
            <a:extLst>
              <a:ext uri="{FF2B5EF4-FFF2-40B4-BE49-F238E27FC236}">
                <a16:creationId xmlns:a16="http://schemas.microsoft.com/office/drawing/2014/main" id="{81EAD44B-B4CE-6AA6-183A-F35827AB8BD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5" name="Gráfico 1">
            <a:extLst>
              <a:ext uri="{FF2B5EF4-FFF2-40B4-BE49-F238E27FC236}">
                <a16:creationId xmlns:a16="http://schemas.microsoft.com/office/drawing/2014/main" id="{53324467-A3D5-BAEB-EB15-D2B0298655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91676" y="380459"/>
            <a:ext cx="1094400" cy="523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94318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9586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40619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0620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buFont typeface="Arial" panose="020B0604020202020204" pitchFamily="34" charset="0"/>
              <a:buChar char="•"/>
              <a:defRPr sz="14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E4945A70-3CC1-30BE-FEDB-E46736A59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7" name="Subtítulo 2">
            <a:extLst>
              <a:ext uri="{FF2B5EF4-FFF2-40B4-BE49-F238E27FC236}">
                <a16:creationId xmlns:a16="http://schemas.microsoft.com/office/drawing/2014/main" id="{4515C2E5-FAF0-EA40-6643-F8742AD31B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BE124154-33FF-38DC-2B87-57B5985C828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3" name="Marcador de número de diapositiva 12">
            <a:extLst>
              <a:ext uri="{FF2B5EF4-FFF2-40B4-BE49-F238E27FC236}">
                <a16:creationId xmlns:a16="http://schemas.microsoft.com/office/drawing/2014/main" id="{81EAD44B-B4CE-6AA6-183A-F35827AB8BD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grpSp>
        <p:nvGrpSpPr>
          <p:cNvPr id="2" name="Gráfico 3">
            <a:extLst>
              <a:ext uri="{FF2B5EF4-FFF2-40B4-BE49-F238E27FC236}">
                <a16:creationId xmlns:a16="http://schemas.microsoft.com/office/drawing/2014/main" id="{804AD91D-935B-7AEC-F566-E2D2A752B1B3}"/>
              </a:ext>
            </a:extLst>
          </p:cNvPr>
          <p:cNvGrpSpPr/>
          <p:nvPr/>
        </p:nvGrpSpPr>
        <p:grpSpPr>
          <a:xfrm>
            <a:off x="10692003" y="385812"/>
            <a:ext cx="1094299" cy="517860"/>
            <a:chOff x="10692003" y="385812"/>
            <a:chExt cx="1094299" cy="517860"/>
          </a:xfrm>
        </p:grpSpPr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EF3A0D57-EC61-4D3F-807D-A581BD38F297}"/>
                </a:ext>
              </a:extLst>
            </p:cNvPr>
            <p:cNvSpPr/>
            <p:nvPr/>
          </p:nvSpPr>
          <p:spPr>
            <a:xfrm>
              <a:off x="10692003" y="385812"/>
              <a:ext cx="525080" cy="517860"/>
            </a:xfrm>
            <a:custGeom>
              <a:avLst/>
              <a:gdLst>
                <a:gd name="connsiteX0" fmla="*/ 420240 w 525080"/>
                <a:gd name="connsiteY0" fmla="*/ 517860 h 517860"/>
                <a:gd name="connsiteX1" fmla="*/ 104840 w 525080"/>
                <a:gd name="connsiteY1" fmla="*/ 517860 h 517860"/>
                <a:gd name="connsiteX2" fmla="*/ 0 w 525080"/>
                <a:gd name="connsiteY2" fmla="*/ 414115 h 517860"/>
                <a:gd name="connsiteX3" fmla="*/ 0 w 525080"/>
                <a:gd name="connsiteY3" fmla="*/ 103745 h 517860"/>
                <a:gd name="connsiteX4" fmla="*/ 104840 w 525080"/>
                <a:gd name="connsiteY4" fmla="*/ 0 h 517860"/>
                <a:gd name="connsiteX5" fmla="*/ 420240 w 525080"/>
                <a:gd name="connsiteY5" fmla="*/ 0 h 517860"/>
                <a:gd name="connsiteX6" fmla="*/ 525080 w 525080"/>
                <a:gd name="connsiteY6" fmla="*/ 103745 h 517860"/>
                <a:gd name="connsiteX7" fmla="*/ 525080 w 525080"/>
                <a:gd name="connsiteY7" fmla="*/ 414113 h 517860"/>
                <a:gd name="connsiteX8" fmla="*/ 420240 w 525080"/>
                <a:gd name="connsiteY8" fmla="*/ 517860 h 517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5080" h="517860">
                  <a:moveTo>
                    <a:pt x="420240" y="517860"/>
                  </a:moveTo>
                  <a:lnTo>
                    <a:pt x="104840" y="517860"/>
                  </a:lnTo>
                  <a:cubicBezTo>
                    <a:pt x="46938" y="517860"/>
                    <a:pt x="0" y="471412"/>
                    <a:pt x="0" y="414115"/>
                  </a:cubicBezTo>
                  <a:lnTo>
                    <a:pt x="0" y="103745"/>
                  </a:lnTo>
                  <a:cubicBezTo>
                    <a:pt x="0" y="46448"/>
                    <a:pt x="46938" y="0"/>
                    <a:pt x="104840" y="0"/>
                  </a:cubicBezTo>
                  <a:lnTo>
                    <a:pt x="420240" y="0"/>
                  </a:lnTo>
                  <a:cubicBezTo>
                    <a:pt x="478142" y="0"/>
                    <a:pt x="525080" y="46448"/>
                    <a:pt x="525080" y="103745"/>
                  </a:cubicBezTo>
                  <a:lnTo>
                    <a:pt x="525080" y="414113"/>
                  </a:lnTo>
                  <a:cubicBezTo>
                    <a:pt x="525083" y="471412"/>
                    <a:pt x="478145" y="517860"/>
                    <a:pt x="420240" y="517860"/>
                  </a:cubicBezTo>
                  <a:close/>
                </a:path>
              </a:pathLst>
            </a:custGeom>
            <a:solidFill>
              <a:srgbClr val="348FFF"/>
            </a:solidFill>
            <a:ln w="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grpSp>
          <p:nvGrpSpPr>
            <p:cNvPr id="6" name="Gráfico 3">
              <a:extLst>
                <a:ext uri="{FF2B5EF4-FFF2-40B4-BE49-F238E27FC236}">
                  <a16:creationId xmlns:a16="http://schemas.microsoft.com/office/drawing/2014/main" id="{08901E3E-ECA1-F91B-27AE-F16513348591}"/>
                </a:ext>
              </a:extLst>
            </p:cNvPr>
            <p:cNvGrpSpPr/>
            <p:nvPr/>
          </p:nvGrpSpPr>
          <p:grpSpPr>
            <a:xfrm>
              <a:off x="10744409" y="567754"/>
              <a:ext cx="420013" cy="154572"/>
              <a:chOff x="10744409" y="567754"/>
              <a:chExt cx="420013" cy="154572"/>
            </a:xfrm>
            <a:solidFill>
              <a:srgbClr val="FFFFFF"/>
            </a:solidFill>
          </p:grpSpPr>
          <p:sp>
            <p:nvSpPr>
              <p:cNvPr id="8" name="Forma libre: forma 7">
                <a:extLst>
                  <a:ext uri="{FF2B5EF4-FFF2-40B4-BE49-F238E27FC236}">
                    <a16:creationId xmlns:a16="http://schemas.microsoft.com/office/drawing/2014/main" id="{1947F924-6D9B-E257-DBB3-918E956E8356}"/>
                  </a:ext>
                </a:extLst>
              </p:cNvPr>
              <p:cNvSpPr/>
              <p:nvPr/>
            </p:nvSpPr>
            <p:spPr>
              <a:xfrm>
                <a:off x="10744409" y="602360"/>
                <a:ext cx="98384" cy="119750"/>
              </a:xfrm>
              <a:custGeom>
                <a:avLst/>
                <a:gdLst>
                  <a:gd name="connsiteX0" fmla="*/ 8933 w 98384"/>
                  <a:gd name="connsiteY0" fmla="*/ 110730 h 119750"/>
                  <a:gd name="connsiteX1" fmla="*/ 0 w 98384"/>
                  <a:gd name="connsiteY1" fmla="*/ 85568 h 119750"/>
                  <a:gd name="connsiteX2" fmla="*/ 3231 w 98384"/>
                  <a:gd name="connsiteY2" fmla="*/ 68796 h 119750"/>
                  <a:gd name="connsiteX3" fmla="*/ 14426 w 98384"/>
                  <a:gd name="connsiteY3" fmla="*/ 57224 h 119750"/>
                  <a:gd name="connsiteX4" fmla="*/ 37031 w 98384"/>
                  <a:gd name="connsiteY4" fmla="*/ 49475 h 119750"/>
                  <a:gd name="connsiteX5" fmla="*/ 52963 w 98384"/>
                  <a:gd name="connsiteY5" fmla="*/ 46289 h 119750"/>
                  <a:gd name="connsiteX6" fmla="*/ 61036 w 98384"/>
                  <a:gd name="connsiteY6" fmla="*/ 43953 h 119750"/>
                  <a:gd name="connsiteX7" fmla="*/ 64695 w 98384"/>
                  <a:gd name="connsiteY7" fmla="*/ 40662 h 119750"/>
                  <a:gd name="connsiteX8" fmla="*/ 65664 w 98384"/>
                  <a:gd name="connsiteY8" fmla="*/ 35248 h 119750"/>
                  <a:gd name="connsiteX9" fmla="*/ 64373 w 98384"/>
                  <a:gd name="connsiteY9" fmla="*/ 30259 h 119750"/>
                  <a:gd name="connsiteX10" fmla="*/ 60283 w 98384"/>
                  <a:gd name="connsiteY10" fmla="*/ 27710 h 119750"/>
                  <a:gd name="connsiteX11" fmla="*/ 52747 w 98384"/>
                  <a:gd name="connsiteY11" fmla="*/ 26968 h 119750"/>
                  <a:gd name="connsiteX12" fmla="*/ 5812 w 98384"/>
                  <a:gd name="connsiteY12" fmla="*/ 26968 h 119750"/>
                  <a:gd name="connsiteX13" fmla="*/ 5812 w 98384"/>
                  <a:gd name="connsiteY13" fmla="*/ 4036 h 119750"/>
                  <a:gd name="connsiteX14" fmla="*/ 24865 w 98384"/>
                  <a:gd name="connsiteY14" fmla="*/ 1169 h 119750"/>
                  <a:gd name="connsiteX15" fmla="*/ 47792 w 98384"/>
                  <a:gd name="connsiteY15" fmla="*/ 0 h 119750"/>
                  <a:gd name="connsiteX16" fmla="*/ 77825 w 98384"/>
                  <a:gd name="connsiteY16" fmla="*/ 4352 h 119750"/>
                  <a:gd name="connsiteX17" fmla="*/ 93647 w 98384"/>
                  <a:gd name="connsiteY17" fmla="*/ 17304 h 119750"/>
                  <a:gd name="connsiteX18" fmla="*/ 98384 w 98384"/>
                  <a:gd name="connsiteY18" fmla="*/ 39703 h 119750"/>
                  <a:gd name="connsiteX19" fmla="*/ 98384 w 98384"/>
                  <a:gd name="connsiteY19" fmla="*/ 117839 h 119750"/>
                  <a:gd name="connsiteX20" fmla="*/ 72120 w 98384"/>
                  <a:gd name="connsiteY20" fmla="*/ 117839 h 119750"/>
                  <a:gd name="connsiteX21" fmla="*/ 66092 w 98384"/>
                  <a:gd name="connsiteY21" fmla="*/ 100853 h 119750"/>
                  <a:gd name="connsiteX22" fmla="*/ 54791 w 98384"/>
                  <a:gd name="connsiteY22" fmla="*/ 115079 h 119750"/>
                  <a:gd name="connsiteX23" fmla="*/ 35307 w 98384"/>
                  <a:gd name="connsiteY23" fmla="*/ 119750 h 119750"/>
                  <a:gd name="connsiteX24" fmla="*/ 8933 w 98384"/>
                  <a:gd name="connsiteY24" fmla="*/ 110730 h 119750"/>
                  <a:gd name="connsiteX25" fmla="*/ 63187 w 98384"/>
                  <a:gd name="connsiteY25" fmla="*/ 90134 h 119750"/>
                  <a:gd name="connsiteX26" fmla="*/ 66092 w 98384"/>
                  <a:gd name="connsiteY26" fmla="*/ 79199 h 119750"/>
                  <a:gd name="connsiteX27" fmla="*/ 66092 w 98384"/>
                  <a:gd name="connsiteY27" fmla="*/ 63698 h 119750"/>
                  <a:gd name="connsiteX28" fmla="*/ 44349 w 98384"/>
                  <a:gd name="connsiteY28" fmla="*/ 68583 h 119750"/>
                  <a:gd name="connsiteX29" fmla="*/ 34876 w 98384"/>
                  <a:gd name="connsiteY29" fmla="*/ 73467 h 119750"/>
                  <a:gd name="connsiteX30" fmla="*/ 32076 w 98384"/>
                  <a:gd name="connsiteY30" fmla="*/ 82172 h 119750"/>
                  <a:gd name="connsiteX31" fmla="*/ 35520 w 98384"/>
                  <a:gd name="connsiteY31" fmla="*/ 90877 h 119750"/>
                  <a:gd name="connsiteX32" fmla="*/ 46283 w 98384"/>
                  <a:gd name="connsiteY32" fmla="*/ 93849 h 119750"/>
                  <a:gd name="connsiteX33" fmla="*/ 52957 w 98384"/>
                  <a:gd name="connsiteY33" fmla="*/ 93849 h 119750"/>
                  <a:gd name="connsiteX34" fmla="*/ 63187 w 98384"/>
                  <a:gd name="connsiteY34" fmla="*/ 90134 h 119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98384" h="119750">
                    <a:moveTo>
                      <a:pt x="8933" y="110730"/>
                    </a:moveTo>
                    <a:cubicBezTo>
                      <a:pt x="2977" y="104714"/>
                      <a:pt x="0" y="96328"/>
                      <a:pt x="0" y="85568"/>
                    </a:cubicBezTo>
                    <a:cubicBezTo>
                      <a:pt x="0" y="78916"/>
                      <a:pt x="1078" y="73327"/>
                      <a:pt x="3231" y="68796"/>
                    </a:cubicBezTo>
                    <a:cubicBezTo>
                      <a:pt x="5383" y="64268"/>
                      <a:pt x="9113" y="60410"/>
                      <a:pt x="14426" y="57224"/>
                    </a:cubicBezTo>
                    <a:cubicBezTo>
                      <a:pt x="19732" y="54040"/>
                      <a:pt x="27269" y="51459"/>
                      <a:pt x="37031" y="49475"/>
                    </a:cubicBezTo>
                    <a:lnTo>
                      <a:pt x="52963" y="46289"/>
                    </a:lnTo>
                    <a:cubicBezTo>
                      <a:pt x="56548" y="45581"/>
                      <a:pt x="59238" y="44804"/>
                      <a:pt x="61036" y="43953"/>
                    </a:cubicBezTo>
                    <a:cubicBezTo>
                      <a:pt x="62829" y="43103"/>
                      <a:pt x="64051" y="42009"/>
                      <a:pt x="64695" y="40662"/>
                    </a:cubicBezTo>
                    <a:cubicBezTo>
                      <a:pt x="65342" y="39317"/>
                      <a:pt x="65664" y="37514"/>
                      <a:pt x="65664" y="35248"/>
                    </a:cubicBezTo>
                    <a:cubicBezTo>
                      <a:pt x="65664" y="33126"/>
                      <a:pt x="65233" y="31463"/>
                      <a:pt x="64373" y="30259"/>
                    </a:cubicBezTo>
                    <a:cubicBezTo>
                      <a:pt x="63511" y="29057"/>
                      <a:pt x="62147" y="28210"/>
                      <a:pt x="60283" y="27710"/>
                    </a:cubicBezTo>
                    <a:cubicBezTo>
                      <a:pt x="58417" y="27216"/>
                      <a:pt x="55904" y="26968"/>
                      <a:pt x="52747" y="26968"/>
                    </a:cubicBezTo>
                    <a:lnTo>
                      <a:pt x="5812" y="26968"/>
                    </a:lnTo>
                    <a:lnTo>
                      <a:pt x="5812" y="4036"/>
                    </a:lnTo>
                    <a:cubicBezTo>
                      <a:pt x="10690" y="2905"/>
                      <a:pt x="17039" y="1949"/>
                      <a:pt x="24865" y="1169"/>
                    </a:cubicBezTo>
                    <a:cubicBezTo>
                      <a:pt x="32685" y="391"/>
                      <a:pt x="40327" y="0"/>
                      <a:pt x="47792" y="0"/>
                    </a:cubicBezTo>
                    <a:cubicBezTo>
                      <a:pt x="60420" y="0"/>
                      <a:pt x="70431" y="1453"/>
                      <a:pt x="77825" y="4352"/>
                    </a:cubicBezTo>
                    <a:cubicBezTo>
                      <a:pt x="85216" y="7255"/>
                      <a:pt x="90491" y="11572"/>
                      <a:pt x="93647" y="17304"/>
                    </a:cubicBezTo>
                    <a:cubicBezTo>
                      <a:pt x="96802" y="23036"/>
                      <a:pt x="98384" y="30505"/>
                      <a:pt x="98384" y="39703"/>
                    </a:cubicBezTo>
                    <a:lnTo>
                      <a:pt x="98384" y="117839"/>
                    </a:lnTo>
                    <a:lnTo>
                      <a:pt x="72120" y="117839"/>
                    </a:lnTo>
                    <a:lnTo>
                      <a:pt x="66092" y="100853"/>
                    </a:lnTo>
                    <a:cubicBezTo>
                      <a:pt x="63508" y="107222"/>
                      <a:pt x="59740" y="111966"/>
                      <a:pt x="54791" y="115079"/>
                    </a:cubicBezTo>
                    <a:cubicBezTo>
                      <a:pt x="49839" y="118193"/>
                      <a:pt x="43345" y="119750"/>
                      <a:pt x="35307" y="119750"/>
                    </a:cubicBezTo>
                    <a:cubicBezTo>
                      <a:pt x="23681" y="119753"/>
                      <a:pt x="14887" y="116748"/>
                      <a:pt x="8933" y="110730"/>
                    </a:cubicBezTo>
                    <a:close/>
                    <a:moveTo>
                      <a:pt x="63187" y="90134"/>
                    </a:moveTo>
                    <a:cubicBezTo>
                      <a:pt x="65124" y="87658"/>
                      <a:pt x="66092" y="84013"/>
                      <a:pt x="66092" y="79199"/>
                    </a:cubicBezTo>
                    <a:lnTo>
                      <a:pt x="66092" y="63698"/>
                    </a:lnTo>
                    <a:lnTo>
                      <a:pt x="44349" y="68583"/>
                    </a:lnTo>
                    <a:cubicBezTo>
                      <a:pt x="39899" y="69574"/>
                      <a:pt x="36739" y="71204"/>
                      <a:pt x="34876" y="73467"/>
                    </a:cubicBezTo>
                    <a:cubicBezTo>
                      <a:pt x="33009" y="75732"/>
                      <a:pt x="32076" y="78635"/>
                      <a:pt x="32076" y="82172"/>
                    </a:cubicBezTo>
                    <a:cubicBezTo>
                      <a:pt x="32076" y="85995"/>
                      <a:pt x="33222" y="88898"/>
                      <a:pt x="35520" y="90877"/>
                    </a:cubicBezTo>
                    <a:cubicBezTo>
                      <a:pt x="37814" y="92861"/>
                      <a:pt x="41402" y="93849"/>
                      <a:pt x="46283" y="93849"/>
                    </a:cubicBezTo>
                    <a:lnTo>
                      <a:pt x="52957" y="93849"/>
                    </a:lnTo>
                    <a:cubicBezTo>
                      <a:pt x="57836" y="93849"/>
                      <a:pt x="61247" y="92613"/>
                      <a:pt x="63187" y="90134"/>
                    </a:cubicBezTo>
                    <a:close/>
                  </a:path>
                </a:pathLst>
              </a:custGeom>
              <a:solidFill>
                <a:srgbClr val="FFFFFF"/>
              </a:solidFill>
              <a:ln w="2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4" name="Forma libre: forma 13">
                <a:extLst>
                  <a:ext uri="{FF2B5EF4-FFF2-40B4-BE49-F238E27FC236}">
                    <a16:creationId xmlns:a16="http://schemas.microsoft.com/office/drawing/2014/main" id="{F2E6606C-6947-A2AD-AE00-4DBFE5B0E904}"/>
                  </a:ext>
                </a:extLst>
              </p:cNvPr>
              <p:cNvSpPr/>
              <p:nvPr/>
            </p:nvSpPr>
            <p:spPr>
              <a:xfrm>
                <a:off x="10861090" y="602362"/>
                <a:ext cx="84389" cy="119963"/>
              </a:xfrm>
              <a:custGeom>
                <a:avLst/>
                <a:gdLst>
                  <a:gd name="connsiteX0" fmla="*/ 13670 w 84389"/>
                  <a:gd name="connsiteY0" fmla="*/ 105948 h 119963"/>
                  <a:gd name="connsiteX1" fmla="*/ 0 w 84389"/>
                  <a:gd name="connsiteY1" fmla="*/ 59875 h 119963"/>
                  <a:gd name="connsiteX2" fmla="*/ 13670 w 84389"/>
                  <a:gd name="connsiteY2" fmla="*/ 14013 h 119963"/>
                  <a:gd name="connsiteX3" fmla="*/ 53820 w 84389"/>
                  <a:gd name="connsiteY3" fmla="*/ 0 h 119963"/>
                  <a:gd name="connsiteX4" fmla="*/ 84390 w 84389"/>
                  <a:gd name="connsiteY4" fmla="*/ 3821 h 119963"/>
                  <a:gd name="connsiteX5" fmla="*/ 84390 w 84389"/>
                  <a:gd name="connsiteY5" fmla="*/ 26962 h 119963"/>
                  <a:gd name="connsiteX6" fmla="*/ 60493 w 84389"/>
                  <a:gd name="connsiteY6" fmla="*/ 26962 h 119963"/>
                  <a:gd name="connsiteX7" fmla="*/ 42409 w 84389"/>
                  <a:gd name="connsiteY7" fmla="*/ 30359 h 119963"/>
                  <a:gd name="connsiteX8" fmla="*/ 34982 w 84389"/>
                  <a:gd name="connsiteY8" fmla="*/ 40338 h 119963"/>
                  <a:gd name="connsiteX9" fmla="*/ 33367 w 84389"/>
                  <a:gd name="connsiteY9" fmla="*/ 59873 h 119963"/>
                  <a:gd name="connsiteX10" fmla="*/ 34982 w 84389"/>
                  <a:gd name="connsiteY10" fmla="*/ 80044 h 119963"/>
                  <a:gd name="connsiteX11" fmla="*/ 42409 w 84389"/>
                  <a:gd name="connsiteY11" fmla="*/ 90342 h 119963"/>
                  <a:gd name="connsiteX12" fmla="*/ 60493 w 84389"/>
                  <a:gd name="connsiteY12" fmla="*/ 93847 h 119963"/>
                  <a:gd name="connsiteX13" fmla="*/ 84390 w 84389"/>
                  <a:gd name="connsiteY13" fmla="*/ 93847 h 119963"/>
                  <a:gd name="connsiteX14" fmla="*/ 84390 w 84389"/>
                  <a:gd name="connsiteY14" fmla="*/ 115079 h 119963"/>
                  <a:gd name="connsiteX15" fmla="*/ 53820 w 84389"/>
                  <a:gd name="connsiteY15" fmla="*/ 119964 h 119963"/>
                  <a:gd name="connsiteX16" fmla="*/ 13670 w 84389"/>
                  <a:gd name="connsiteY16" fmla="*/ 105948 h 11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4389" h="119963">
                    <a:moveTo>
                      <a:pt x="13670" y="105948"/>
                    </a:moveTo>
                    <a:cubicBezTo>
                      <a:pt x="4554" y="96606"/>
                      <a:pt x="0" y="81248"/>
                      <a:pt x="0" y="59875"/>
                    </a:cubicBezTo>
                    <a:cubicBezTo>
                      <a:pt x="0" y="38642"/>
                      <a:pt x="4554" y="23355"/>
                      <a:pt x="13670" y="14013"/>
                    </a:cubicBezTo>
                    <a:cubicBezTo>
                      <a:pt x="22783" y="4671"/>
                      <a:pt x="36166" y="0"/>
                      <a:pt x="53820" y="0"/>
                    </a:cubicBezTo>
                    <a:cubicBezTo>
                      <a:pt x="64870" y="0"/>
                      <a:pt x="75058" y="1274"/>
                      <a:pt x="84390" y="3821"/>
                    </a:cubicBezTo>
                    <a:lnTo>
                      <a:pt x="84390" y="26962"/>
                    </a:lnTo>
                    <a:lnTo>
                      <a:pt x="60493" y="26962"/>
                    </a:lnTo>
                    <a:cubicBezTo>
                      <a:pt x="52313" y="26962"/>
                      <a:pt x="46283" y="28096"/>
                      <a:pt x="42409" y="30359"/>
                    </a:cubicBezTo>
                    <a:cubicBezTo>
                      <a:pt x="38535" y="32624"/>
                      <a:pt x="36057" y="35953"/>
                      <a:pt x="34982" y="40338"/>
                    </a:cubicBezTo>
                    <a:cubicBezTo>
                      <a:pt x="33904" y="44728"/>
                      <a:pt x="33367" y="51241"/>
                      <a:pt x="33367" y="59873"/>
                    </a:cubicBezTo>
                    <a:cubicBezTo>
                      <a:pt x="33367" y="68791"/>
                      <a:pt x="33904" y="75514"/>
                      <a:pt x="34982" y="80044"/>
                    </a:cubicBezTo>
                    <a:cubicBezTo>
                      <a:pt x="36057" y="84575"/>
                      <a:pt x="38535" y="88007"/>
                      <a:pt x="42409" y="90342"/>
                    </a:cubicBezTo>
                    <a:cubicBezTo>
                      <a:pt x="46283" y="92678"/>
                      <a:pt x="52311" y="93847"/>
                      <a:pt x="60493" y="93847"/>
                    </a:cubicBezTo>
                    <a:lnTo>
                      <a:pt x="84390" y="93847"/>
                    </a:lnTo>
                    <a:lnTo>
                      <a:pt x="84390" y="115079"/>
                    </a:lnTo>
                    <a:cubicBezTo>
                      <a:pt x="74488" y="118333"/>
                      <a:pt x="64294" y="119964"/>
                      <a:pt x="53820" y="119964"/>
                    </a:cubicBezTo>
                    <a:cubicBezTo>
                      <a:pt x="36166" y="119961"/>
                      <a:pt x="22783" y="115290"/>
                      <a:pt x="13670" y="10594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5" name="Forma libre: forma 14">
                <a:extLst>
                  <a:ext uri="{FF2B5EF4-FFF2-40B4-BE49-F238E27FC236}">
                    <a16:creationId xmlns:a16="http://schemas.microsoft.com/office/drawing/2014/main" id="{BEF77AC9-CBEB-88A2-65D6-173F410DCB81}"/>
                  </a:ext>
                </a:extLst>
              </p:cNvPr>
              <p:cNvSpPr/>
              <p:nvPr/>
            </p:nvSpPr>
            <p:spPr>
              <a:xfrm>
                <a:off x="10962055" y="567754"/>
                <a:ext cx="99030" cy="152447"/>
              </a:xfrm>
              <a:custGeom>
                <a:avLst/>
                <a:gdLst>
                  <a:gd name="connsiteX0" fmla="*/ 0 w 99030"/>
                  <a:gd name="connsiteY0" fmla="*/ 5308 h 152447"/>
                  <a:gd name="connsiteX1" fmla="*/ 32292 w 99030"/>
                  <a:gd name="connsiteY1" fmla="*/ 0 h 152447"/>
                  <a:gd name="connsiteX2" fmla="*/ 32292 w 99030"/>
                  <a:gd name="connsiteY2" fmla="*/ 152447 h 152447"/>
                  <a:gd name="connsiteX3" fmla="*/ 0 w 99030"/>
                  <a:gd name="connsiteY3" fmla="*/ 152447 h 152447"/>
                  <a:gd name="connsiteX4" fmla="*/ 0 w 99030"/>
                  <a:gd name="connsiteY4" fmla="*/ 5308 h 152447"/>
                  <a:gd name="connsiteX5" fmla="*/ 63830 w 99030"/>
                  <a:gd name="connsiteY5" fmla="*/ 63590 h 152447"/>
                  <a:gd name="connsiteX6" fmla="*/ 53820 w 99030"/>
                  <a:gd name="connsiteY6" fmla="*/ 61573 h 152447"/>
                  <a:gd name="connsiteX7" fmla="*/ 30570 w 99030"/>
                  <a:gd name="connsiteY7" fmla="*/ 61573 h 152447"/>
                  <a:gd name="connsiteX8" fmla="*/ 30570 w 99030"/>
                  <a:gd name="connsiteY8" fmla="*/ 50109 h 152447"/>
                  <a:gd name="connsiteX9" fmla="*/ 63940 w 99030"/>
                  <a:gd name="connsiteY9" fmla="*/ 34609 h 152447"/>
                  <a:gd name="connsiteX10" fmla="*/ 90204 w 99030"/>
                  <a:gd name="connsiteY10" fmla="*/ 43208 h 152447"/>
                  <a:gd name="connsiteX11" fmla="*/ 99031 w 99030"/>
                  <a:gd name="connsiteY11" fmla="*/ 67943 h 152447"/>
                  <a:gd name="connsiteX12" fmla="*/ 99031 w 99030"/>
                  <a:gd name="connsiteY12" fmla="*/ 152447 h 152447"/>
                  <a:gd name="connsiteX13" fmla="*/ 66739 w 99030"/>
                  <a:gd name="connsiteY13" fmla="*/ 152447 h 152447"/>
                  <a:gd name="connsiteX14" fmla="*/ 66739 w 99030"/>
                  <a:gd name="connsiteY14" fmla="*/ 71339 h 152447"/>
                  <a:gd name="connsiteX15" fmla="*/ 63830 w 99030"/>
                  <a:gd name="connsiteY15" fmla="*/ 63590 h 152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9030" h="152447">
                    <a:moveTo>
                      <a:pt x="0" y="5308"/>
                    </a:moveTo>
                    <a:lnTo>
                      <a:pt x="32292" y="0"/>
                    </a:lnTo>
                    <a:lnTo>
                      <a:pt x="32292" y="152447"/>
                    </a:lnTo>
                    <a:lnTo>
                      <a:pt x="0" y="152447"/>
                    </a:lnTo>
                    <a:lnTo>
                      <a:pt x="0" y="5308"/>
                    </a:lnTo>
                    <a:close/>
                    <a:moveTo>
                      <a:pt x="63830" y="63590"/>
                    </a:moveTo>
                    <a:cubicBezTo>
                      <a:pt x="61893" y="62246"/>
                      <a:pt x="58556" y="61573"/>
                      <a:pt x="53820" y="61573"/>
                    </a:cubicBezTo>
                    <a:cubicBezTo>
                      <a:pt x="46071" y="61573"/>
                      <a:pt x="38319" y="61573"/>
                      <a:pt x="30570" y="61573"/>
                    </a:cubicBezTo>
                    <a:lnTo>
                      <a:pt x="30570" y="50109"/>
                    </a:lnTo>
                    <a:cubicBezTo>
                      <a:pt x="39181" y="39779"/>
                      <a:pt x="50303" y="34609"/>
                      <a:pt x="63940" y="34609"/>
                    </a:cubicBezTo>
                    <a:cubicBezTo>
                      <a:pt x="75566" y="34609"/>
                      <a:pt x="84319" y="37476"/>
                      <a:pt x="90204" y="43208"/>
                    </a:cubicBezTo>
                    <a:cubicBezTo>
                      <a:pt x="96087" y="48940"/>
                      <a:pt x="99031" y="57189"/>
                      <a:pt x="99031" y="67943"/>
                    </a:cubicBezTo>
                    <a:lnTo>
                      <a:pt x="99031" y="152447"/>
                    </a:lnTo>
                    <a:lnTo>
                      <a:pt x="66739" y="152447"/>
                    </a:lnTo>
                    <a:lnTo>
                      <a:pt x="66739" y="71339"/>
                    </a:lnTo>
                    <a:cubicBezTo>
                      <a:pt x="66736" y="67519"/>
                      <a:pt x="65768" y="64938"/>
                      <a:pt x="63830" y="6359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0238DAA-AE7F-2804-3395-463CFB978AAC}"/>
                  </a:ext>
                </a:extLst>
              </p:cNvPr>
              <p:cNvSpPr/>
              <p:nvPr/>
            </p:nvSpPr>
            <p:spPr>
              <a:xfrm>
                <a:off x="11078737" y="602365"/>
                <a:ext cx="85685" cy="119960"/>
              </a:xfrm>
              <a:custGeom>
                <a:avLst/>
                <a:gdLst>
                  <a:gd name="connsiteX0" fmla="*/ 17222 w 85685"/>
                  <a:gd name="connsiteY0" fmla="*/ 118687 h 119960"/>
                  <a:gd name="connsiteX1" fmla="*/ 0 w 85685"/>
                  <a:gd name="connsiteY1" fmla="*/ 114866 h 119960"/>
                  <a:gd name="connsiteX2" fmla="*/ 0 w 85685"/>
                  <a:gd name="connsiteY2" fmla="*/ 93847 h 119960"/>
                  <a:gd name="connsiteX3" fmla="*/ 50376 w 85685"/>
                  <a:gd name="connsiteY3" fmla="*/ 93847 h 119960"/>
                  <a:gd name="connsiteX4" fmla="*/ 53713 w 85685"/>
                  <a:gd name="connsiteY4" fmla="*/ 92467 h 119960"/>
                  <a:gd name="connsiteX5" fmla="*/ 54897 w 85685"/>
                  <a:gd name="connsiteY5" fmla="*/ 88115 h 119960"/>
                  <a:gd name="connsiteX6" fmla="*/ 54144 w 85685"/>
                  <a:gd name="connsiteY6" fmla="*/ 84718 h 119960"/>
                  <a:gd name="connsiteX7" fmla="*/ 51238 w 85685"/>
                  <a:gd name="connsiteY7" fmla="*/ 81745 h 119960"/>
                  <a:gd name="connsiteX8" fmla="*/ 45642 w 85685"/>
                  <a:gd name="connsiteY8" fmla="*/ 78135 h 119960"/>
                  <a:gd name="connsiteX9" fmla="*/ 21315 w 85685"/>
                  <a:gd name="connsiteY9" fmla="*/ 64546 h 119960"/>
                  <a:gd name="connsiteX10" fmla="*/ 5814 w 85685"/>
                  <a:gd name="connsiteY10" fmla="*/ 50638 h 119960"/>
                  <a:gd name="connsiteX11" fmla="*/ 1078 w 85685"/>
                  <a:gd name="connsiteY11" fmla="*/ 31849 h 119960"/>
                  <a:gd name="connsiteX12" fmla="*/ 12379 w 85685"/>
                  <a:gd name="connsiteY12" fmla="*/ 8494 h 119960"/>
                  <a:gd name="connsiteX13" fmla="*/ 43271 w 85685"/>
                  <a:gd name="connsiteY13" fmla="*/ 0 h 119960"/>
                  <a:gd name="connsiteX14" fmla="*/ 79225 w 85685"/>
                  <a:gd name="connsiteY14" fmla="*/ 6369 h 119960"/>
                  <a:gd name="connsiteX15" fmla="*/ 79225 w 85685"/>
                  <a:gd name="connsiteY15" fmla="*/ 26965 h 119960"/>
                  <a:gd name="connsiteX16" fmla="*/ 35522 w 85685"/>
                  <a:gd name="connsiteY16" fmla="*/ 26965 h 119960"/>
                  <a:gd name="connsiteX17" fmla="*/ 31863 w 85685"/>
                  <a:gd name="connsiteY17" fmla="*/ 27921 h 119960"/>
                  <a:gd name="connsiteX18" fmla="*/ 30786 w 85685"/>
                  <a:gd name="connsiteY18" fmla="*/ 30999 h 119960"/>
                  <a:gd name="connsiteX19" fmla="*/ 31432 w 85685"/>
                  <a:gd name="connsiteY19" fmla="*/ 34714 h 119960"/>
                  <a:gd name="connsiteX20" fmla="*/ 34447 w 85685"/>
                  <a:gd name="connsiteY20" fmla="*/ 37368 h 119960"/>
                  <a:gd name="connsiteX21" fmla="*/ 66095 w 85685"/>
                  <a:gd name="connsiteY21" fmla="*/ 54354 h 119960"/>
                  <a:gd name="connsiteX22" fmla="*/ 81165 w 85685"/>
                  <a:gd name="connsiteY22" fmla="*/ 66245 h 119960"/>
                  <a:gd name="connsiteX23" fmla="*/ 85686 w 85685"/>
                  <a:gd name="connsiteY23" fmla="*/ 84505 h 119960"/>
                  <a:gd name="connsiteX24" fmla="*/ 73738 w 85685"/>
                  <a:gd name="connsiteY24" fmla="*/ 111470 h 119960"/>
                  <a:gd name="connsiteX25" fmla="*/ 38540 w 85685"/>
                  <a:gd name="connsiteY25" fmla="*/ 119961 h 119960"/>
                  <a:gd name="connsiteX26" fmla="*/ 17222 w 85685"/>
                  <a:gd name="connsiteY26" fmla="*/ 118687 h 119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85685" h="119960">
                    <a:moveTo>
                      <a:pt x="17222" y="118687"/>
                    </a:moveTo>
                    <a:cubicBezTo>
                      <a:pt x="11195" y="117836"/>
                      <a:pt x="5452" y="116564"/>
                      <a:pt x="0" y="114866"/>
                    </a:cubicBezTo>
                    <a:lnTo>
                      <a:pt x="0" y="93847"/>
                    </a:lnTo>
                    <a:lnTo>
                      <a:pt x="50376" y="93847"/>
                    </a:lnTo>
                    <a:cubicBezTo>
                      <a:pt x="51809" y="93847"/>
                      <a:pt x="52922" y="93388"/>
                      <a:pt x="53713" y="92467"/>
                    </a:cubicBezTo>
                    <a:cubicBezTo>
                      <a:pt x="54499" y="91549"/>
                      <a:pt x="54897" y="90099"/>
                      <a:pt x="54897" y="88115"/>
                    </a:cubicBezTo>
                    <a:cubicBezTo>
                      <a:pt x="54897" y="86702"/>
                      <a:pt x="54646" y="85566"/>
                      <a:pt x="54144" y="84718"/>
                    </a:cubicBezTo>
                    <a:cubicBezTo>
                      <a:pt x="53640" y="83867"/>
                      <a:pt x="52671" y="82879"/>
                      <a:pt x="51238" y="81745"/>
                    </a:cubicBezTo>
                    <a:cubicBezTo>
                      <a:pt x="49803" y="80614"/>
                      <a:pt x="47934" y="79410"/>
                      <a:pt x="45642" y="78135"/>
                    </a:cubicBezTo>
                    <a:lnTo>
                      <a:pt x="21315" y="64546"/>
                    </a:lnTo>
                    <a:cubicBezTo>
                      <a:pt x="14136" y="60585"/>
                      <a:pt x="8969" y="55947"/>
                      <a:pt x="5814" y="50638"/>
                    </a:cubicBezTo>
                    <a:cubicBezTo>
                      <a:pt x="2655" y="45330"/>
                      <a:pt x="1078" y="39066"/>
                      <a:pt x="1078" y="31849"/>
                    </a:cubicBezTo>
                    <a:cubicBezTo>
                      <a:pt x="1078" y="21943"/>
                      <a:pt x="4846" y="14156"/>
                      <a:pt x="12379" y="8494"/>
                    </a:cubicBezTo>
                    <a:cubicBezTo>
                      <a:pt x="19915" y="2835"/>
                      <a:pt x="30210" y="0"/>
                      <a:pt x="43271" y="0"/>
                    </a:cubicBezTo>
                    <a:cubicBezTo>
                      <a:pt x="55899" y="0"/>
                      <a:pt x="67885" y="2122"/>
                      <a:pt x="79225" y="6369"/>
                    </a:cubicBezTo>
                    <a:lnTo>
                      <a:pt x="79225" y="26965"/>
                    </a:lnTo>
                    <a:lnTo>
                      <a:pt x="35522" y="26965"/>
                    </a:lnTo>
                    <a:cubicBezTo>
                      <a:pt x="33801" y="26965"/>
                      <a:pt x="32578" y="27283"/>
                      <a:pt x="31863" y="27921"/>
                    </a:cubicBezTo>
                    <a:cubicBezTo>
                      <a:pt x="31143" y="28558"/>
                      <a:pt x="30786" y="29587"/>
                      <a:pt x="30786" y="30999"/>
                    </a:cubicBezTo>
                    <a:cubicBezTo>
                      <a:pt x="30786" y="32697"/>
                      <a:pt x="31001" y="33939"/>
                      <a:pt x="31432" y="34714"/>
                    </a:cubicBezTo>
                    <a:cubicBezTo>
                      <a:pt x="31863" y="35494"/>
                      <a:pt x="32865" y="36380"/>
                      <a:pt x="34447" y="37368"/>
                    </a:cubicBezTo>
                    <a:lnTo>
                      <a:pt x="66095" y="54354"/>
                    </a:lnTo>
                    <a:cubicBezTo>
                      <a:pt x="73126" y="58037"/>
                      <a:pt x="78152" y="61997"/>
                      <a:pt x="81165" y="66245"/>
                    </a:cubicBezTo>
                    <a:cubicBezTo>
                      <a:pt x="84177" y="70492"/>
                      <a:pt x="85686" y="76577"/>
                      <a:pt x="85686" y="84505"/>
                    </a:cubicBezTo>
                    <a:cubicBezTo>
                      <a:pt x="85686" y="96819"/>
                      <a:pt x="81702" y="105810"/>
                      <a:pt x="73738" y="111470"/>
                    </a:cubicBezTo>
                    <a:cubicBezTo>
                      <a:pt x="65773" y="117131"/>
                      <a:pt x="54038" y="119961"/>
                      <a:pt x="38540" y="119961"/>
                    </a:cubicBezTo>
                    <a:cubicBezTo>
                      <a:pt x="30355" y="119958"/>
                      <a:pt x="23250" y="119534"/>
                      <a:pt x="17222" y="1186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2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</p:grpSp>
        <p:grpSp>
          <p:nvGrpSpPr>
            <p:cNvPr id="18" name="Gráfico 3">
              <a:extLst>
                <a:ext uri="{FF2B5EF4-FFF2-40B4-BE49-F238E27FC236}">
                  <a16:creationId xmlns:a16="http://schemas.microsoft.com/office/drawing/2014/main" id="{C26B5F8A-D2E6-0538-58D2-6F4942BD0959}"/>
                </a:ext>
              </a:extLst>
            </p:cNvPr>
            <p:cNvGrpSpPr/>
            <p:nvPr/>
          </p:nvGrpSpPr>
          <p:grpSpPr>
            <a:xfrm>
              <a:off x="11295459" y="569876"/>
              <a:ext cx="490842" cy="154782"/>
              <a:chOff x="11295459" y="569876"/>
              <a:chExt cx="490842" cy="154782"/>
            </a:xfrm>
            <a:solidFill>
              <a:srgbClr val="348FFF"/>
            </a:solidFill>
          </p:grpSpPr>
          <p:sp>
            <p:nvSpPr>
              <p:cNvPr id="19" name="Forma libre: forma 18">
                <a:extLst>
                  <a:ext uri="{FF2B5EF4-FFF2-40B4-BE49-F238E27FC236}">
                    <a16:creationId xmlns:a16="http://schemas.microsoft.com/office/drawing/2014/main" id="{1A712546-C1B0-7120-B0F6-47EAE1BA5C75}"/>
                  </a:ext>
                </a:extLst>
              </p:cNvPr>
              <p:cNvSpPr/>
              <p:nvPr/>
            </p:nvSpPr>
            <p:spPr>
              <a:xfrm>
                <a:off x="11295459" y="604485"/>
                <a:ext cx="82024" cy="119960"/>
              </a:xfrm>
              <a:custGeom>
                <a:avLst/>
                <a:gdLst>
                  <a:gd name="connsiteX0" fmla="*/ 16147 w 82024"/>
                  <a:gd name="connsiteY0" fmla="*/ 119005 h 119960"/>
                  <a:gd name="connsiteX1" fmla="*/ 0 w 82024"/>
                  <a:gd name="connsiteY1" fmla="*/ 115927 h 119960"/>
                  <a:gd name="connsiteX2" fmla="*/ 0 w 82024"/>
                  <a:gd name="connsiteY2" fmla="*/ 99792 h 119960"/>
                  <a:gd name="connsiteX3" fmla="*/ 42196 w 82024"/>
                  <a:gd name="connsiteY3" fmla="*/ 99792 h 119960"/>
                  <a:gd name="connsiteX4" fmla="*/ 55544 w 82024"/>
                  <a:gd name="connsiteY4" fmla="*/ 97243 h 119960"/>
                  <a:gd name="connsiteX5" fmla="*/ 59418 w 82024"/>
                  <a:gd name="connsiteY5" fmla="*/ 88962 h 119960"/>
                  <a:gd name="connsiteX6" fmla="*/ 58234 w 82024"/>
                  <a:gd name="connsiteY6" fmla="*/ 83654 h 119960"/>
                  <a:gd name="connsiteX7" fmla="*/ 54035 w 82024"/>
                  <a:gd name="connsiteY7" fmla="*/ 79302 h 119960"/>
                  <a:gd name="connsiteX8" fmla="*/ 45424 w 82024"/>
                  <a:gd name="connsiteY8" fmla="*/ 73675 h 119960"/>
                  <a:gd name="connsiteX9" fmla="*/ 22174 w 82024"/>
                  <a:gd name="connsiteY9" fmla="*/ 60723 h 119960"/>
                  <a:gd name="connsiteX10" fmla="*/ 6352 w 82024"/>
                  <a:gd name="connsiteY10" fmla="*/ 47242 h 119960"/>
                  <a:gd name="connsiteX11" fmla="*/ 1293 w 82024"/>
                  <a:gd name="connsiteY11" fmla="*/ 29087 h 119960"/>
                  <a:gd name="connsiteX12" fmla="*/ 11842 w 82024"/>
                  <a:gd name="connsiteY12" fmla="*/ 7644 h 119960"/>
                  <a:gd name="connsiteX13" fmla="*/ 42412 w 82024"/>
                  <a:gd name="connsiteY13" fmla="*/ 0 h 119960"/>
                  <a:gd name="connsiteX14" fmla="*/ 75781 w 82024"/>
                  <a:gd name="connsiteY14" fmla="*/ 4671 h 119960"/>
                  <a:gd name="connsiteX15" fmla="*/ 75781 w 82024"/>
                  <a:gd name="connsiteY15" fmla="*/ 20596 h 119960"/>
                  <a:gd name="connsiteX16" fmla="*/ 32938 w 82024"/>
                  <a:gd name="connsiteY16" fmla="*/ 20596 h 119960"/>
                  <a:gd name="connsiteX17" fmla="*/ 25296 w 82024"/>
                  <a:gd name="connsiteY17" fmla="*/ 22718 h 119960"/>
                  <a:gd name="connsiteX18" fmla="*/ 23037 w 82024"/>
                  <a:gd name="connsiteY18" fmla="*/ 28874 h 119960"/>
                  <a:gd name="connsiteX19" fmla="*/ 24868 w 82024"/>
                  <a:gd name="connsiteY19" fmla="*/ 35033 h 119960"/>
                  <a:gd name="connsiteX20" fmla="*/ 31863 w 82024"/>
                  <a:gd name="connsiteY20" fmla="*/ 40127 h 119960"/>
                  <a:gd name="connsiteX21" fmla="*/ 57481 w 82024"/>
                  <a:gd name="connsiteY21" fmla="*/ 54140 h 119960"/>
                  <a:gd name="connsiteX22" fmla="*/ 76750 w 82024"/>
                  <a:gd name="connsiteY22" fmla="*/ 68577 h 119960"/>
                  <a:gd name="connsiteX23" fmla="*/ 82024 w 82024"/>
                  <a:gd name="connsiteY23" fmla="*/ 86413 h 119960"/>
                  <a:gd name="connsiteX24" fmla="*/ 70507 w 82024"/>
                  <a:gd name="connsiteY24" fmla="*/ 111999 h 119960"/>
                  <a:gd name="connsiteX25" fmla="*/ 35953 w 82024"/>
                  <a:gd name="connsiteY25" fmla="*/ 119961 h 119960"/>
                  <a:gd name="connsiteX26" fmla="*/ 16147 w 82024"/>
                  <a:gd name="connsiteY26" fmla="*/ 119005 h 119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82024" h="119960">
                    <a:moveTo>
                      <a:pt x="16147" y="119005"/>
                    </a:moveTo>
                    <a:cubicBezTo>
                      <a:pt x="10551" y="118368"/>
                      <a:pt x="5168" y="117342"/>
                      <a:pt x="0" y="115927"/>
                    </a:cubicBezTo>
                    <a:lnTo>
                      <a:pt x="0" y="99792"/>
                    </a:lnTo>
                    <a:lnTo>
                      <a:pt x="42196" y="99792"/>
                    </a:lnTo>
                    <a:cubicBezTo>
                      <a:pt x="48510" y="99792"/>
                      <a:pt x="52960" y="98941"/>
                      <a:pt x="55544" y="97243"/>
                    </a:cubicBezTo>
                    <a:cubicBezTo>
                      <a:pt x="58128" y="95545"/>
                      <a:pt x="59418" y="92786"/>
                      <a:pt x="59418" y="88962"/>
                    </a:cubicBezTo>
                    <a:cubicBezTo>
                      <a:pt x="59418" y="86840"/>
                      <a:pt x="59023" y="85072"/>
                      <a:pt x="58234" y="83654"/>
                    </a:cubicBezTo>
                    <a:cubicBezTo>
                      <a:pt x="57443" y="82242"/>
                      <a:pt x="56043" y="80787"/>
                      <a:pt x="54035" y="79302"/>
                    </a:cubicBezTo>
                    <a:cubicBezTo>
                      <a:pt x="52024" y="77817"/>
                      <a:pt x="49154" y="75940"/>
                      <a:pt x="45424" y="73675"/>
                    </a:cubicBezTo>
                    <a:lnTo>
                      <a:pt x="22174" y="60723"/>
                    </a:lnTo>
                    <a:cubicBezTo>
                      <a:pt x="14996" y="56619"/>
                      <a:pt x="9722" y="52123"/>
                      <a:pt x="6352" y="47242"/>
                    </a:cubicBezTo>
                    <a:cubicBezTo>
                      <a:pt x="2977" y="42358"/>
                      <a:pt x="1293" y="36307"/>
                      <a:pt x="1293" y="29087"/>
                    </a:cubicBezTo>
                    <a:cubicBezTo>
                      <a:pt x="1293" y="19888"/>
                      <a:pt x="4808" y="12739"/>
                      <a:pt x="11842" y="7644"/>
                    </a:cubicBezTo>
                    <a:cubicBezTo>
                      <a:pt x="18873" y="2549"/>
                      <a:pt x="29064" y="0"/>
                      <a:pt x="42412" y="0"/>
                    </a:cubicBezTo>
                    <a:cubicBezTo>
                      <a:pt x="54322" y="0"/>
                      <a:pt x="65446" y="1558"/>
                      <a:pt x="75781" y="4671"/>
                    </a:cubicBezTo>
                    <a:lnTo>
                      <a:pt x="75781" y="20596"/>
                    </a:lnTo>
                    <a:lnTo>
                      <a:pt x="32938" y="20596"/>
                    </a:lnTo>
                    <a:cubicBezTo>
                      <a:pt x="29350" y="20596"/>
                      <a:pt x="26802" y="21306"/>
                      <a:pt x="25296" y="22718"/>
                    </a:cubicBezTo>
                    <a:cubicBezTo>
                      <a:pt x="23790" y="24135"/>
                      <a:pt x="23037" y="26187"/>
                      <a:pt x="23037" y="28874"/>
                    </a:cubicBezTo>
                    <a:cubicBezTo>
                      <a:pt x="23037" y="31563"/>
                      <a:pt x="23645" y="33618"/>
                      <a:pt x="24868" y="35033"/>
                    </a:cubicBezTo>
                    <a:cubicBezTo>
                      <a:pt x="26084" y="36450"/>
                      <a:pt x="28420" y="38148"/>
                      <a:pt x="31863" y="40127"/>
                    </a:cubicBezTo>
                    <a:lnTo>
                      <a:pt x="57481" y="54140"/>
                    </a:lnTo>
                    <a:cubicBezTo>
                      <a:pt x="66810" y="59098"/>
                      <a:pt x="73230" y="63906"/>
                      <a:pt x="76750" y="68577"/>
                    </a:cubicBezTo>
                    <a:cubicBezTo>
                      <a:pt x="80264" y="73248"/>
                      <a:pt x="82024" y="79194"/>
                      <a:pt x="82024" y="86413"/>
                    </a:cubicBezTo>
                    <a:cubicBezTo>
                      <a:pt x="82024" y="98164"/>
                      <a:pt x="78182" y="106691"/>
                      <a:pt x="70507" y="111999"/>
                    </a:cubicBezTo>
                    <a:cubicBezTo>
                      <a:pt x="62826" y="117307"/>
                      <a:pt x="51309" y="119961"/>
                      <a:pt x="35953" y="119961"/>
                    </a:cubicBezTo>
                    <a:cubicBezTo>
                      <a:pt x="28344" y="119961"/>
                      <a:pt x="21746" y="119642"/>
                      <a:pt x="16147" y="119005"/>
                    </a:cubicBezTo>
                    <a:close/>
                  </a:path>
                </a:pathLst>
              </a:custGeom>
              <a:solidFill>
                <a:srgbClr val="348FFF"/>
              </a:solidFill>
              <a:ln w="2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0" name="Forma libre: forma 19">
                <a:extLst>
                  <a:ext uri="{FF2B5EF4-FFF2-40B4-BE49-F238E27FC236}">
                    <a16:creationId xmlns:a16="http://schemas.microsoft.com/office/drawing/2014/main" id="{5D06A7AE-4B4E-5B92-9482-A00D16439183}"/>
                  </a:ext>
                </a:extLst>
              </p:cNvPr>
              <p:cNvSpPr/>
              <p:nvPr/>
            </p:nvSpPr>
            <p:spPr>
              <a:xfrm>
                <a:off x="11394058" y="604487"/>
                <a:ext cx="94719" cy="119747"/>
              </a:xfrm>
              <a:custGeom>
                <a:avLst/>
                <a:gdLst>
                  <a:gd name="connsiteX0" fmla="*/ 9580 w 94719"/>
                  <a:gd name="connsiteY0" fmla="*/ 110724 h 119747"/>
                  <a:gd name="connsiteX1" fmla="*/ 0 w 94719"/>
                  <a:gd name="connsiteY1" fmla="*/ 85563 h 119747"/>
                  <a:gd name="connsiteX2" fmla="*/ 3443 w 94719"/>
                  <a:gd name="connsiteY2" fmla="*/ 68791 h 119747"/>
                  <a:gd name="connsiteX3" fmla="*/ 14745 w 94719"/>
                  <a:gd name="connsiteY3" fmla="*/ 57326 h 119747"/>
                  <a:gd name="connsiteX4" fmla="*/ 35735 w 94719"/>
                  <a:gd name="connsiteY4" fmla="*/ 50107 h 119747"/>
                  <a:gd name="connsiteX5" fmla="*/ 56832 w 94719"/>
                  <a:gd name="connsiteY5" fmla="*/ 46286 h 119747"/>
                  <a:gd name="connsiteX6" fmla="*/ 65552 w 94719"/>
                  <a:gd name="connsiteY6" fmla="*/ 43845 h 119747"/>
                  <a:gd name="connsiteX7" fmla="*/ 69427 w 94719"/>
                  <a:gd name="connsiteY7" fmla="*/ 39917 h 119747"/>
                  <a:gd name="connsiteX8" fmla="*/ 70395 w 94719"/>
                  <a:gd name="connsiteY8" fmla="*/ 32910 h 119747"/>
                  <a:gd name="connsiteX9" fmla="*/ 68564 w 94719"/>
                  <a:gd name="connsiteY9" fmla="*/ 25691 h 119747"/>
                  <a:gd name="connsiteX10" fmla="*/ 62000 w 94719"/>
                  <a:gd name="connsiteY10" fmla="*/ 21870 h 119747"/>
                  <a:gd name="connsiteX11" fmla="*/ 48436 w 94719"/>
                  <a:gd name="connsiteY11" fmla="*/ 20596 h 119747"/>
                  <a:gd name="connsiteX12" fmla="*/ 6240 w 94719"/>
                  <a:gd name="connsiteY12" fmla="*/ 20596 h 119747"/>
                  <a:gd name="connsiteX13" fmla="*/ 6240 w 94719"/>
                  <a:gd name="connsiteY13" fmla="*/ 3610 h 119747"/>
                  <a:gd name="connsiteX14" fmla="*/ 24862 w 94719"/>
                  <a:gd name="connsiteY14" fmla="*/ 1061 h 119747"/>
                  <a:gd name="connsiteX15" fmla="*/ 47143 w 94719"/>
                  <a:gd name="connsiteY15" fmla="*/ 0 h 119747"/>
                  <a:gd name="connsiteX16" fmla="*/ 75345 w 94719"/>
                  <a:gd name="connsiteY16" fmla="*/ 3715 h 119747"/>
                  <a:gd name="connsiteX17" fmla="*/ 90199 w 94719"/>
                  <a:gd name="connsiteY17" fmla="*/ 14650 h 119747"/>
                  <a:gd name="connsiteX18" fmla="*/ 94720 w 94719"/>
                  <a:gd name="connsiteY18" fmla="*/ 33548 h 119747"/>
                  <a:gd name="connsiteX19" fmla="*/ 94720 w 94719"/>
                  <a:gd name="connsiteY19" fmla="*/ 117839 h 119747"/>
                  <a:gd name="connsiteX20" fmla="*/ 77282 w 94719"/>
                  <a:gd name="connsiteY20" fmla="*/ 117839 h 119747"/>
                  <a:gd name="connsiteX21" fmla="*/ 70824 w 94719"/>
                  <a:gd name="connsiteY21" fmla="*/ 102975 h 119747"/>
                  <a:gd name="connsiteX22" fmla="*/ 58982 w 94719"/>
                  <a:gd name="connsiteY22" fmla="*/ 115290 h 119747"/>
                  <a:gd name="connsiteX23" fmla="*/ 37885 w 94719"/>
                  <a:gd name="connsiteY23" fmla="*/ 119748 h 119747"/>
                  <a:gd name="connsiteX24" fmla="*/ 9580 w 94719"/>
                  <a:gd name="connsiteY24" fmla="*/ 110724 h 119747"/>
                  <a:gd name="connsiteX25" fmla="*/ 65661 w 94719"/>
                  <a:gd name="connsiteY25" fmla="*/ 93949 h 119747"/>
                  <a:gd name="connsiteX26" fmla="*/ 70829 w 94719"/>
                  <a:gd name="connsiteY26" fmla="*/ 76008 h 119747"/>
                  <a:gd name="connsiteX27" fmla="*/ 70829 w 94719"/>
                  <a:gd name="connsiteY27" fmla="*/ 60083 h 119747"/>
                  <a:gd name="connsiteX28" fmla="*/ 40474 w 94719"/>
                  <a:gd name="connsiteY28" fmla="*/ 66239 h 119747"/>
                  <a:gd name="connsiteX29" fmla="*/ 27773 w 94719"/>
                  <a:gd name="connsiteY29" fmla="*/ 72079 h 119747"/>
                  <a:gd name="connsiteX30" fmla="*/ 23899 w 94719"/>
                  <a:gd name="connsiteY30" fmla="*/ 83225 h 119747"/>
                  <a:gd name="connsiteX31" fmla="*/ 28526 w 94719"/>
                  <a:gd name="connsiteY31" fmla="*/ 95540 h 119747"/>
                  <a:gd name="connsiteX32" fmla="*/ 42843 w 94719"/>
                  <a:gd name="connsiteY32" fmla="*/ 99787 h 119747"/>
                  <a:gd name="connsiteX33" fmla="*/ 48655 w 94719"/>
                  <a:gd name="connsiteY33" fmla="*/ 99787 h 119747"/>
                  <a:gd name="connsiteX34" fmla="*/ 65661 w 94719"/>
                  <a:gd name="connsiteY34" fmla="*/ 93949 h 119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94719" h="119747">
                    <a:moveTo>
                      <a:pt x="9580" y="110724"/>
                    </a:moveTo>
                    <a:cubicBezTo>
                      <a:pt x="3192" y="104709"/>
                      <a:pt x="0" y="96323"/>
                      <a:pt x="0" y="85563"/>
                    </a:cubicBezTo>
                    <a:cubicBezTo>
                      <a:pt x="0" y="78910"/>
                      <a:pt x="1146" y="73321"/>
                      <a:pt x="3443" y="68791"/>
                    </a:cubicBezTo>
                    <a:cubicBezTo>
                      <a:pt x="5738" y="64263"/>
                      <a:pt x="9506" y="60440"/>
                      <a:pt x="14745" y="57326"/>
                    </a:cubicBezTo>
                    <a:cubicBezTo>
                      <a:pt x="19984" y="54213"/>
                      <a:pt x="26979" y="51805"/>
                      <a:pt x="35735" y="50107"/>
                    </a:cubicBezTo>
                    <a:lnTo>
                      <a:pt x="56832" y="46286"/>
                    </a:lnTo>
                    <a:cubicBezTo>
                      <a:pt x="60706" y="45579"/>
                      <a:pt x="63612" y="44766"/>
                      <a:pt x="65552" y="43845"/>
                    </a:cubicBezTo>
                    <a:cubicBezTo>
                      <a:pt x="67489" y="42927"/>
                      <a:pt x="68780" y="41615"/>
                      <a:pt x="69427" y="39917"/>
                    </a:cubicBezTo>
                    <a:cubicBezTo>
                      <a:pt x="70073" y="38219"/>
                      <a:pt x="70395" y="35883"/>
                      <a:pt x="70395" y="32910"/>
                    </a:cubicBezTo>
                    <a:cubicBezTo>
                      <a:pt x="70395" y="29800"/>
                      <a:pt x="69784" y="27389"/>
                      <a:pt x="68564" y="25691"/>
                    </a:cubicBezTo>
                    <a:cubicBezTo>
                      <a:pt x="67345" y="23992"/>
                      <a:pt x="65154" y="22718"/>
                      <a:pt x="62000" y="21870"/>
                    </a:cubicBezTo>
                    <a:cubicBezTo>
                      <a:pt x="58840" y="21020"/>
                      <a:pt x="54319" y="20596"/>
                      <a:pt x="48436" y="20596"/>
                    </a:cubicBezTo>
                    <a:lnTo>
                      <a:pt x="6240" y="20596"/>
                    </a:lnTo>
                    <a:lnTo>
                      <a:pt x="6240" y="3610"/>
                    </a:lnTo>
                    <a:cubicBezTo>
                      <a:pt x="10977" y="2622"/>
                      <a:pt x="17181" y="1771"/>
                      <a:pt x="24862" y="1061"/>
                    </a:cubicBezTo>
                    <a:cubicBezTo>
                      <a:pt x="32537" y="354"/>
                      <a:pt x="39964" y="0"/>
                      <a:pt x="47143" y="0"/>
                    </a:cubicBezTo>
                    <a:cubicBezTo>
                      <a:pt x="59053" y="0"/>
                      <a:pt x="68455" y="1242"/>
                      <a:pt x="75345" y="3715"/>
                    </a:cubicBezTo>
                    <a:cubicBezTo>
                      <a:pt x="82234" y="6194"/>
                      <a:pt x="87186" y="9839"/>
                      <a:pt x="90199" y="14650"/>
                    </a:cubicBezTo>
                    <a:cubicBezTo>
                      <a:pt x="93214" y="19464"/>
                      <a:pt x="94720" y="25763"/>
                      <a:pt x="94720" y="33548"/>
                    </a:cubicBezTo>
                    <a:lnTo>
                      <a:pt x="94720" y="117839"/>
                    </a:lnTo>
                    <a:lnTo>
                      <a:pt x="77282" y="117839"/>
                    </a:lnTo>
                    <a:lnTo>
                      <a:pt x="70824" y="102975"/>
                    </a:lnTo>
                    <a:cubicBezTo>
                      <a:pt x="68526" y="108213"/>
                      <a:pt x="64581" y="112317"/>
                      <a:pt x="58982" y="115290"/>
                    </a:cubicBezTo>
                    <a:cubicBezTo>
                      <a:pt x="53383" y="118263"/>
                      <a:pt x="46352" y="119748"/>
                      <a:pt x="37885" y="119748"/>
                    </a:cubicBezTo>
                    <a:cubicBezTo>
                      <a:pt x="25402" y="119748"/>
                      <a:pt x="15964" y="116740"/>
                      <a:pt x="9580" y="110724"/>
                    </a:cubicBezTo>
                    <a:close/>
                    <a:moveTo>
                      <a:pt x="65661" y="93949"/>
                    </a:moveTo>
                    <a:cubicBezTo>
                      <a:pt x="69105" y="90059"/>
                      <a:pt x="70829" y="84075"/>
                      <a:pt x="70829" y="76008"/>
                    </a:cubicBezTo>
                    <a:lnTo>
                      <a:pt x="70829" y="60083"/>
                    </a:lnTo>
                    <a:lnTo>
                      <a:pt x="40474" y="66239"/>
                    </a:lnTo>
                    <a:cubicBezTo>
                      <a:pt x="34589" y="67373"/>
                      <a:pt x="30357" y="69317"/>
                      <a:pt x="27773" y="72079"/>
                    </a:cubicBezTo>
                    <a:cubicBezTo>
                      <a:pt x="25190" y="74839"/>
                      <a:pt x="23899" y="78554"/>
                      <a:pt x="23899" y="83225"/>
                    </a:cubicBezTo>
                    <a:cubicBezTo>
                      <a:pt x="23899" y="88606"/>
                      <a:pt x="25441" y="92710"/>
                      <a:pt x="28526" y="95540"/>
                    </a:cubicBezTo>
                    <a:cubicBezTo>
                      <a:pt x="31610" y="98372"/>
                      <a:pt x="36384" y="99787"/>
                      <a:pt x="42843" y="99787"/>
                    </a:cubicBezTo>
                    <a:lnTo>
                      <a:pt x="48655" y="99787"/>
                    </a:lnTo>
                    <a:cubicBezTo>
                      <a:pt x="56545" y="99789"/>
                      <a:pt x="62215" y="97845"/>
                      <a:pt x="65661" y="93949"/>
                    </a:cubicBezTo>
                    <a:close/>
                  </a:path>
                </a:pathLst>
              </a:custGeom>
              <a:solidFill>
                <a:srgbClr val="348FFF"/>
              </a:solidFill>
              <a:ln w="2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1" name="Forma libre: forma 20">
                <a:extLst>
                  <a:ext uri="{FF2B5EF4-FFF2-40B4-BE49-F238E27FC236}">
                    <a16:creationId xmlns:a16="http://schemas.microsoft.com/office/drawing/2014/main" id="{2850FB58-35D1-D34B-C109-58383C99D820}"/>
                  </a:ext>
                </a:extLst>
              </p:cNvPr>
              <p:cNvSpPr/>
              <p:nvPr/>
            </p:nvSpPr>
            <p:spPr>
              <a:xfrm>
                <a:off x="11517845" y="569876"/>
                <a:ext cx="23680" cy="152447"/>
              </a:xfrm>
              <a:custGeom>
                <a:avLst/>
                <a:gdLst>
                  <a:gd name="connsiteX0" fmla="*/ 0 w 23680"/>
                  <a:gd name="connsiteY0" fmla="*/ 4247 h 152447"/>
                  <a:gd name="connsiteX1" fmla="*/ 23681 w 23680"/>
                  <a:gd name="connsiteY1" fmla="*/ 0 h 152447"/>
                  <a:gd name="connsiteX2" fmla="*/ 23681 w 23680"/>
                  <a:gd name="connsiteY2" fmla="*/ 152447 h 152447"/>
                  <a:gd name="connsiteX3" fmla="*/ 0 w 23680"/>
                  <a:gd name="connsiteY3" fmla="*/ 152447 h 152447"/>
                  <a:gd name="connsiteX4" fmla="*/ 0 w 23680"/>
                  <a:gd name="connsiteY4" fmla="*/ 4247 h 152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80" h="152447">
                    <a:moveTo>
                      <a:pt x="0" y="4247"/>
                    </a:moveTo>
                    <a:lnTo>
                      <a:pt x="23681" y="0"/>
                    </a:lnTo>
                    <a:lnTo>
                      <a:pt x="23681" y="152447"/>
                    </a:lnTo>
                    <a:lnTo>
                      <a:pt x="0" y="152447"/>
                    </a:lnTo>
                    <a:lnTo>
                      <a:pt x="0" y="4247"/>
                    </a:lnTo>
                    <a:close/>
                  </a:path>
                </a:pathLst>
              </a:custGeom>
              <a:solidFill>
                <a:srgbClr val="348FFF"/>
              </a:solidFill>
              <a:ln w="2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2" name="Forma libre: forma 21">
                <a:extLst>
                  <a:ext uri="{FF2B5EF4-FFF2-40B4-BE49-F238E27FC236}">
                    <a16:creationId xmlns:a16="http://schemas.microsoft.com/office/drawing/2014/main" id="{0E52070B-64C4-6061-BF03-80523CADA00C}"/>
                  </a:ext>
                </a:extLst>
              </p:cNvPr>
              <p:cNvSpPr/>
              <p:nvPr/>
            </p:nvSpPr>
            <p:spPr>
              <a:xfrm>
                <a:off x="11570592" y="606607"/>
                <a:ext cx="94722" cy="117838"/>
              </a:xfrm>
              <a:custGeom>
                <a:avLst/>
                <a:gdLst>
                  <a:gd name="connsiteX0" fmla="*/ 28846 w 94722"/>
                  <a:gd name="connsiteY0" fmla="*/ 94484 h 117838"/>
                  <a:gd name="connsiteX1" fmla="*/ 44777 w 94722"/>
                  <a:gd name="connsiteY1" fmla="*/ 97243 h 117838"/>
                  <a:gd name="connsiteX2" fmla="*/ 71904 w 94722"/>
                  <a:gd name="connsiteY2" fmla="*/ 95121 h 117838"/>
                  <a:gd name="connsiteX3" fmla="*/ 71904 w 94722"/>
                  <a:gd name="connsiteY3" fmla="*/ 103402 h 117838"/>
                  <a:gd name="connsiteX4" fmla="*/ 36813 w 94722"/>
                  <a:gd name="connsiteY4" fmla="*/ 117839 h 117838"/>
                  <a:gd name="connsiteX5" fmla="*/ 9364 w 94722"/>
                  <a:gd name="connsiteY5" fmla="*/ 110090 h 117838"/>
                  <a:gd name="connsiteX6" fmla="*/ 0 w 94722"/>
                  <a:gd name="connsiteY6" fmla="*/ 86629 h 117838"/>
                  <a:gd name="connsiteX7" fmla="*/ 0 w 94722"/>
                  <a:gd name="connsiteY7" fmla="*/ 0 h 117838"/>
                  <a:gd name="connsiteX8" fmla="*/ 23896 w 94722"/>
                  <a:gd name="connsiteY8" fmla="*/ 0 h 117838"/>
                  <a:gd name="connsiteX9" fmla="*/ 23896 w 94722"/>
                  <a:gd name="connsiteY9" fmla="*/ 84291 h 117838"/>
                  <a:gd name="connsiteX10" fmla="*/ 28846 w 94722"/>
                  <a:gd name="connsiteY10" fmla="*/ 94484 h 117838"/>
                  <a:gd name="connsiteX11" fmla="*/ 94722 w 94722"/>
                  <a:gd name="connsiteY11" fmla="*/ 115717 h 117838"/>
                  <a:gd name="connsiteX12" fmla="*/ 70826 w 94722"/>
                  <a:gd name="connsiteY12" fmla="*/ 115717 h 117838"/>
                  <a:gd name="connsiteX13" fmla="*/ 70826 w 94722"/>
                  <a:gd name="connsiteY13" fmla="*/ 0 h 117838"/>
                  <a:gd name="connsiteX14" fmla="*/ 94722 w 94722"/>
                  <a:gd name="connsiteY14" fmla="*/ 0 h 117838"/>
                  <a:gd name="connsiteX15" fmla="*/ 94722 w 94722"/>
                  <a:gd name="connsiteY15" fmla="*/ 115717 h 117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4722" h="117838">
                    <a:moveTo>
                      <a:pt x="28846" y="94484"/>
                    </a:moveTo>
                    <a:cubicBezTo>
                      <a:pt x="32144" y="96325"/>
                      <a:pt x="37457" y="97243"/>
                      <a:pt x="44777" y="97243"/>
                    </a:cubicBezTo>
                    <a:cubicBezTo>
                      <a:pt x="54966" y="97243"/>
                      <a:pt x="64008" y="96536"/>
                      <a:pt x="71904" y="95121"/>
                    </a:cubicBezTo>
                    <a:lnTo>
                      <a:pt x="71904" y="103402"/>
                    </a:lnTo>
                    <a:cubicBezTo>
                      <a:pt x="63724" y="113030"/>
                      <a:pt x="52024" y="117839"/>
                      <a:pt x="36813" y="117839"/>
                    </a:cubicBezTo>
                    <a:cubicBezTo>
                      <a:pt x="24756" y="117839"/>
                      <a:pt x="15607" y="115258"/>
                      <a:pt x="9364" y="110090"/>
                    </a:cubicBezTo>
                    <a:cubicBezTo>
                      <a:pt x="3121" y="104925"/>
                      <a:pt x="0" y="97106"/>
                      <a:pt x="0" y="86629"/>
                    </a:cubicBezTo>
                    <a:lnTo>
                      <a:pt x="0" y="0"/>
                    </a:lnTo>
                    <a:lnTo>
                      <a:pt x="23896" y="0"/>
                    </a:lnTo>
                    <a:lnTo>
                      <a:pt x="23896" y="84291"/>
                    </a:lnTo>
                    <a:cubicBezTo>
                      <a:pt x="23893" y="89249"/>
                      <a:pt x="25541" y="92645"/>
                      <a:pt x="28846" y="94484"/>
                    </a:cubicBezTo>
                    <a:close/>
                    <a:moveTo>
                      <a:pt x="94722" y="115717"/>
                    </a:moveTo>
                    <a:lnTo>
                      <a:pt x="70826" y="115717"/>
                    </a:lnTo>
                    <a:lnTo>
                      <a:pt x="70826" y="0"/>
                    </a:lnTo>
                    <a:lnTo>
                      <a:pt x="94722" y="0"/>
                    </a:lnTo>
                    <a:lnTo>
                      <a:pt x="94722" y="115717"/>
                    </a:lnTo>
                    <a:close/>
                  </a:path>
                </a:pathLst>
              </a:custGeom>
              <a:solidFill>
                <a:srgbClr val="348FFF"/>
              </a:solidFill>
              <a:ln w="2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3" name="Forma libre: forma 22">
                <a:extLst>
                  <a:ext uri="{FF2B5EF4-FFF2-40B4-BE49-F238E27FC236}">
                    <a16:creationId xmlns:a16="http://schemas.microsoft.com/office/drawing/2014/main" id="{9ED4444D-AA75-6CC6-0CA6-AFB857D3122F}"/>
                  </a:ext>
                </a:extLst>
              </p:cNvPr>
              <p:cNvSpPr/>
              <p:nvPr/>
            </p:nvSpPr>
            <p:spPr>
              <a:xfrm>
                <a:off x="11687055" y="573699"/>
                <a:ext cx="99246" cy="150959"/>
              </a:xfrm>
              <a:custGeom>
                <a:avLst/>
                <a:gdLst>
                  <a:gd name="connsiteX0" fmla="*/ 11842 w 99246"/>
                  <a:gd name="connsiteY0" fmla="*/ 136628 h 150959"/>
                  <a:gd name="connsiteX1" fmla="*/ 0 w 99246"/>
                  <a:gd name="connsiteY1" fmla="*/ 90237 h 150959"/>
                  <a:gd name="connsiteX2" fmla="*/ 47148 w 99246"/>
                  <a:gd name="connsiteY2" fmla="*/ 30785 h 150959"/>
                  <a:gd name="connsiteX3" fmla="*/ 76641 w 99246"/>
                  <a:gd name="connsiteY3" fmla="*/ 38853 h 150959"/>
                  <a:gd name="connsiteX4" fmla="*/ 76641 w 99246"/>
                  <a:gd name="connsiteY4" fmla="*/ 0 h 150959"/>
                  <a:gd name="connsiteX5" fmla="*/ 99246 w 99246"/>
                  <a:gd name="connsiteY5" fmla="*/ 0 h 150959"/>
                  <a:gd name="connsiteX6" fmla="*/ 99246 w 99246"/>
                  <a:gd name="connsiteY6" fmla="*/ 148624 h 150959"/>
                  <a:gd name="connsiteX7" fmla="*/ 81593 w 99246"/>
                  <a:gd name="connsiteY7" fmla="*/ 148624 h 150959"/>
                  <a:gd name="connsiteX8" fmla="*/ 75566 w 99246"/>
                  <a:gd name="connsiteY8" fmla="*/ 131639 h 150959"/>
                  <a:gd name="connsiteX9" fmla="*/ 64586 w 99246"/>
                  <a:gd name="connsiteY9" fmla="*/ 146183 h 150959"/>
                  <a:gd name="connsiteX10" fmla="*/ 44349 w 99246"/>
                  <a:gd name="connsiteY10" fmla="*/ 150960 h 150959"/>
                  <a:gd name="connsiteX11" fmla="*/ 11842 w 99246"/>
                  <a:gd name="connsiteY11" fmla="*/ 136628 h 150959"/>
                  <a:gd name="connsiteX12" fmla="*/ 75566 w 99246"/>
                  <a:gd name="connsiteY12" fmla="*/ 109558 h 150959"/>
                  <a:gd name="connsiteX13" fmla="*/ 75566 w 99246"/>
                  <a:gd name="connsiteY13" fmla="*/ 50107 h 150959"/>
                  <a:gd name="connsiteX14" fmla="*/ 57697 w 99246"/>
                  <a:gd name="connsiteY14" fmla="*/ 50107 h 150959"/>
                  <a:gd name="connsiteX15" fmla="*/ 37244 w 99246"/>
                  <a:gd name="connsiteY15" fmla="*/ 53293 h 150959"/>
                  <a:gd name="connsiteX16" fmla="*/ 27342 w 99246"/>
                  <a:gd name="connsiteY16" fmla="*/ 63804 h 150959"/>
                  <a:gd name="connsiteX17" fmla="*/ 24543 w 99246"/>
                  <a:gd name="connsiteY17" fmla="*/ 84718 h 150959"/>
                  <a:gd name="connsiteX18" fmla="*/ 24543 w 99246"/>
                  <a:gd name="connsiteY18" fmla="*/ 93636 h 150959"/>
                  <a:gd name="connsiteX19" fmla="*/ 27018 w 99246"/>
                  <a:gd name="connsiteY19" fmla="*/ 115398 h 150959"/>
                  <a:gd name="connsiteX20" fmla="*/ 34982 w 99246"/>
                  <a:gd name="connsiteY20" fmla="*/ 126438 h 150959"/>
                  <a:gd name="connsiteX21" fmla="*/ 50161 w 99246"/>
                  <a:gd name="connsiteY21" fmla="*/ 129730 h 150959"/>
                  <a:gd name="connsiteX22" fmla="*/ 56188 w 99246"/>
                  <a:gd name="connsiteY22" fmla="*/ 129730 h 150959"/>
                  <a:gd name="connsiteX23" fmla="*/ 75566 w 99246"/>
                  <a:gd name="connsiteY23" fmla="*/ 109558 h 150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99246" h="150959">
                    <a:moveTo>
                      <a:pt x="11842" y="136628"/>
                    </a:moveTo>
                    <a:cubicBezTo>
                      <a:pt x="3948" y="127073"/>
                      <a:pt x="0" y="111610"/>
                      <a:pt x="0" y="90237"/>
                    </a:cubicBezTo>
                    <a:cubicBezTo>
                      <a:pt x="0" y="50606"/>
                      <a:pt x="15716" y="30785"/>
                      <a:pt x="47148" y="30785"/>
                    </a:cubicBezTo>
                    <a:cubicBezTo>
                      <a:pt x="60927" y="30785"/>
                      <a:pt x="70755" y="33475"/>
                      <a:pt x="76641" y="38853"/>
                    </a:cubicBezTo>
                    <a:lnTo>
                      <a:pt x="76641" y="0"/>
                    </a:lnTo>
                    <a:lnTo>
                      <a:pt x="99246" y="0"/>
                    </a:lnTo>
                    <a:lnTo>
                      <a:pt x="99246" y="148624"/>
                    </a:lnTo>
                    <a:lnTo>
                      <a:pt x="81593" y="148624"/>
                    </a:lnTo>
                    <a:lnTo>
                      <a:pt x="75566" y="131639"/>
                    </a:lnTo>
                    <a:cubicBezTo>
                      <a:pt x="72982" y="138151"/>
                      <a:pt x="69323" y="142997"/>
                      <a:pt x="64586" y="146183"/>
                    </a:cubicBezTo>
                    <a:cubicBezTo>
                      <a:pt x="59850" y="149367"/>
                      <a:pt x="53102" y="150960"/>
                      <a:pt x="44349" y="150960"/>
                    </a:cubicBezTo>
                    <a:cubicBezTo>
                      <a:pt x="30570" y="150960"/>
                      <a:pt x="19733" y="146183"/>
                      <a:pt x="11842" y="136628"/>
                    </a:cubicBezTo>
                    <a:close/>
                    <a:moveTo>
                      <a:pt x="75566" y="109558"/>
                    </a:moveTo>
                    <a:lnTo>
                      <a:pt x="75566" y="50107"/>
                    </a:lnTo>
                    <a:lnTo>
                      <a:pt x="57697" y="50107"/>
                    </a:lnTo>
                    <a:cubicBezTo>
                      <a:pt x="48796" y="50107"/>
                      <a:pt x="41981" y="51168"/>
                      <a:pt x="37244" y="53293"/>
                    </a:cubicBezTo>
                    <a:cubicBezTo>
                      <a:pt x="32507" y="55418"/>
                      <a:pt x="29206" y="58919"/>
                      <a:pt x="27342" y="63804"/>
                    </a:cubicBezTo>
                    <a:cubicBezTo>
                      <a:pt x="25476" y="68688"/>
                      <a:pt x="24543" y="75659"/>
                      <a:pt x="24543" y="84718"/>
                    </a:cubicBezTo>
                    <a:lnTo>
                      <a:pt x="24543" y="93636"/>
                    </a:lnTo>
                    <a:cubicBezTo>
                      <a:pt x="24543" y="102978"/>
                      <a:pt x="25367" y="110233"/>
                      <a:pt x="27018" y="115398"/>
                    </a:cubicBezTo>
                    <a:cubicBezTo>
                      <a:pt x="28666" y="120566"/>
                      <a:pt x="31323" y="124246"/>
                      <a:pt x="34982" y="126438"/>
                    </a:cubicBezTo>
                    <a:cubicBezTo>
                      <a:pt x="38641" y="128633"/>
                      <a:pt x="43702" y="129730"/>
                      <a:pt x="50161" y="129730"/>
                    </a:cubicBezTo>
                    <a:lnTo>
                      <a:pt x="56188" y="129730"/>
                    </a:lnTo>
                    <a:cubicBezTo>
                      <a:pt x="69107" y="129727"/>
                      <a:pt x="75566" y="123007"/>
                      <a:pt x="75566" y="109558"/>
                    </a:cubicBezTo>
                    <a:close/>
                  </a:path>
                </a:pathLst>
              </a:custGeom>
              <a:solidFill>
                <a:srgbClr val="348FFF"/>
              </a:solidFill>
              <a:ln w="2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20888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7098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2F3B9715-D07F-3864-81AC-DFB139F00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3258BAC-810B-C764-8E58-DB47E4CB54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40619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42ECFC8D-9E4C-1277-A15B-B59DBD28B8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0620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buFont typeface="Arial" panose="020B0604020202020204" pitchFamily="34" charset="0"/>
              <a:buChar char="•"/>
              <a:defRPr sz="14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20" name="Subtítulo 2">
            <a:extLst>
              <a:ext uri="{FF2B5EF4-FFF2-40B4-BE49-F238E27FC236}">
                <a16:creationId xmlns:a16="http://schemas.microsoft.com/office/drawing/2014/main" id="{46DA7DB3-F2BD-15F8-B6BA-108CEF907C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A88BED62-16C8-79B2-ADBE-3AA60DA60990}"/>
              </a:ext>
            </a:extLst>
          </p:cNvPr>
          <p:cNvSpPr>
            <a:spLocks noGrp="1"/>
          </p:cNvSpPr>
          <p:nvPr>
            <p:ph type="ftr" sz="quarter" idx="69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1" name="Marcador de número de diapositiva 10">
            <a:extLst>
              <a:ext uri="{FF2B5EF4-FFF2-40B4-BE49-F238E27FC236}">
                <a16:creationId xmlns:a16="http://schemas.microsoft.com/office/drawing/2014/main" id="{0F52C604-F1AB-8D50-835E-8071FBE1AE26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62DD4E4A-0DD3-2F9B-F246-6CFFF5A378D2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92003" y="385812"/>
            <a:ext cx="1094400" cy="5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4651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546">
          <p15:clr>
            <a:srgbClr val="FBAE40"/>
          </p15:clr>
        </p15:guide>
        <p15:guide id="5" orient="horz" pos="3816">
          <p15:clr>
            <a:srgbClr val="FBAE40"/>
          </p15:clr>
        </p15:guide>
        <p15:guide id="6" pos="1504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A6585990-3747-324F-0060-32ED55A50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581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A6585990-3747-324F-0060-32ED55A50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rgbClr val="348F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2766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2766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2766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7A72492-A9F9-DCA1-C950-ACF0B0856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4502BE2A-23D2-E8AA-094B-85304AE07A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BA43719-72FC-2B8D-4D13-46CCEC2999F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41B5E5C-44AD-1C4A-173B-18C04CD2182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047419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8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B94836DB-A449-5E5A-4EA3-690CF44CF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125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B94836DB-A449-5E5A-4EA3-690CF44CFB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rgbClr val="348F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rgbClr val="348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rgbClr val="348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rgbClr val="348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rgbClr val="348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rgbClr val="348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rgbClr val="348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778E4AE-1610-C062-F7EC-A41B30388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B31A843B-023E-04B5-0A32-E5F49E45D4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110E3C6-782A-524B-3760-1EC726F2D43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35C1135-D03E-78FB-495D-12AB50FBCA92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0145562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7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  <p15:guide id="7" orient="horz" pos="667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55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3C07B9-0E02-40E5-B56A-D758E6EFD3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4591">
              <a:solidFill>
                <a:srgbClr val="000000"/>
              </a:solidFill>
              <a:latin typeface="Arial Nova Light" panose="020B0304020202020204" pitchFamily="34" charset="0"/>
              <a:sym typeface="Arial Nova Light" panose="020B03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AA6A90-A35D-4B1D-A234-05EDC490BF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36436" y="1"/>
            <a:ext cx="9255565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51120DD-8614-4392-9142-5C620FD04B6F}"/>
              </a:ext>
            </a:extLst>
          </p:cNvPr>
          <p:cNvSpPr/>
          <p:nvPr userDrawn="1"/>
        </p:nvSpPr>
        <p:spPr>
          <a:xfrm>
            <a:off x="2936435" y="1"/>
            <a:ext cx="6416511" cy="6858000"/>
          </a:xfrm>
          <a:prstGeom prst="rect">
            <a:avLst/>
          </a:prstGeom>
          <a:gradFill>
            <a:gsLst>
              <a:gs pos="48000">
                <a:schemeClr val="accent2">
                  <a:alpha val="50000"/>
                </a:schemeClr>
              </a:gs>
              <a:gs pos="0">
                <a:srgbClr val="005450"/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37">
              <a:solidFill>
                <a:srgbClr val="000000"/>
              </a:solidFill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endParaRPr lang="es-CL" sz="1089">
              <a:solidFill>
                <a:srgbClr val="482A06"/>
              </a:solidFill>
              <a:latin typeface="Arial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11032394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r>
              <a:rPr lang="es-CL" sz="816" b="1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17105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r>
              <a:rPr lang="en-US" sz="816">
                <a:solidFill>
                  <a:srgbClr val="FFFFFF"/>
                </a:solidFill>
                <a:latin typeface="Arial"/>
              </a:rPr>
              <a:t>Last Modified 22-11-2019 9:02 Pacific SA Standard Time</a:t>
            </a:r>
            <a:endParaRPr lang="es-CL" sz="816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31389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r>
              <a:rPr lang="es-CL" sz="816">
                <a:solidFill>
                  <a:srgbClr val="FFFFFF"/>
                </a:solidFill>
                <a:latin typeface="Arial"/>
              </a:rPr>
              <a:t>Printed 21-08-2019 18:24 Pacific SA Standard Tim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53811" y="6583543"/>
            <a:ext cx="522460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s-CL" sz="816">
                <a:solidFill>
                  <a:srgbClr val="FFFFFF"/>
                </a:solidFill>
              </a:rPr>
              <a:t>CONFIDENTIAL AND PROPRIETARY Any use of this material without specific permission is strictly prohibi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53813" y="3263099"/>
            <a:ext cx="5397639" cy="1413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591" noProof="0" dirty="0">
                <a:solidFill>
                  <a:schemeClr val="bg1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pPr lvl="0"/>
            <a:r>
              <a:rPr lang="es-CL" noProof="0" err="1"/>
              <a:t>Click</a:t>
            </a:r>
            <a:r>
              <a:rPr lang="es-CL" noProof="0"/>
              <a:t> </a:t>
            </a:r>
            <a:r>
              <a:rPr lang="es-CL" noProof="0" err="1"/>
              <a:t>to</a:t>
            </a:r>
            <a:r>
              <a:rPr lang="es-CL" noProof="0"/>
              <a:t> </a:t>
            </a:r>
            <a:r>
              <a:rPr lang="es-CL" noProof="0" err="1"/>
              <a:t>edit</a:t>
            </a:r>
            <a:r>
              <a:rPr lang="es-CL" noProof="0"/>
              <a:t> Master </a:t>
            </a:r>
            <a:r>
              <a:rPr lang="es-CL" noProof="0" err="1"/>
              <a:t>title</a:t>
            </a:r>
            <a:r>
              <a:rPr lang="es-CL" noProof="0"/>
              <a:t> </a:t>
            </a:r>
            <a:r>
              <a:rPr lang="es-CL" noProof="0" err="1"/>
              <a:t>style</a:t>
            </a:r>
            <a:endParaRPr lang="es-CL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53812" y="5460724"/>
            <a:ext cx="5397640" cy="1888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24" cap="all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s-CL" noProof="0" err="1"/>
              <a:t>Click</a:t>
            </a:r>
            <a:r>
              <a:rPr lang="es-CL" noProof="0"/>
              <a:t> </a:t>
            </a:r>
            <a:r>
              <a:rPr lang="es-CL" noProof="0" err="1"/>
              <a:t>to</a:t>
            </a:r>
            <a:r>
              <a:rPr lang="es-CL" noProof="0"/>
              <a:t> </a:t>
            </a:r>
            <a:r>
              <a:rPr lang="es-CL" noProof="0" err="1"/>
              <a:t>edit</a:t>
            </a:r>
            <a:r>
              <a:rPr lang="es-CL" noProof="0"/>
              <a:t> Master </a:t>
            </a:r>
            <a:r>
              <a:rPr lang="es-CL" noProof="0" err="1"/>
              <a:t>subtitle</a:t>
            </a:r>
            <a:r>
              <a:rPr lang="es-CL" noProof="0"/>
              <a:t> </a:t>
            </a:r>
            <a:r>
              <a:rPr lang="es-CL" noProof="0" err="1"/>
              <a:t>style</a:t>
            </a:r>
            <a:endParaRPr lang="es-CL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53812" y="5807410"/>
            <a:ext cx="5397640" cy="19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0" hangingPunct="1">
              <a:defRPr sz="1200" baseline="0">
                <a:solidFill>
                  <a:schemeClr val="bg1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s-CL" sz="1224">
                <a:solidFill>
                  <a:srgbClr val="FFFFFF"/>
                </a:solidFill>
              </a:rPr>
              <a:t>Document type | Dat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A569AA2-5EE2-48C2-8925-5234118C587B}"/>
              </a:ext>
            </a:extLst>
          </p:cNvPr>
          <p:cNvGrpSpPr/>
          <p:nvPr userDrawn="1"/>
        </p:nvGrpSpPr>
        <p:grpSpPr>
          <a:xfrm>
            <a:off x="353812" y="728646"/>
            <a:ext cx="1387922" cy="1380403"/>
            <a:chOff x="-8636776" y="2758539"/>
            <a:chExt cx="6757987" cy="6721475"/>
          </a:xfrm>
        </p:grpSpPr>
        <p:sp>
          <p:nvSpPr>
            <p:cNvPr id="31" name="AutoShape 461">
              <a:extLst>
                <a:ext uri="{FF2B5EF4-FFF2-40B4-BE49-F238E27FC236}">
                  <a16:creationId xmlns:a16="http://schemas.microsoft.com/office/drawing/2014/main" id="{0FAD0503-7922-44F2-8DDB-0E68D793E60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32" name="Rectangle 463">
              <a:extLst>
                <a:ext uri="{FF2B5EF4-FFF2-40B4-BE49-F238E27FC236}">
                  <a16:creationId xmlns:a16="http://schemas.microsoft.com/office/drawing/2014/main" id="{98DCA5AB-91BB-4E89-B217-96241BF5DD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noFill/>
            <a:ln w="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33" name="Freeform 464">
              <a:extLst>
                <a:ext uri="{FF2B5EF4-FFF2-40B4-BE49-F238E27FC236}">
                  <a16:creationId xmlns:a16="http://schemas.microsoft.com/office/drawing/2014/main" id="{82DA92F1-6B6C-445C-BB8D-A07AFE9338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065276" y="6873339"/>
              <a:ext cx="5680075" cy="2028825"/>
            </a:xfrm>
            <a:custGeom>
              <a:avLst/>
              <a:gdLst>
                <a:gd name="T0" fmla="*/ 1492 w 10049"/>
                <a:gd name="T1" fmla="*/ 917 h 3594"/>
                <a:gd name="T2" fmla="*/ 973 w 10049"/>
                <a:gd name="T3" fmla="*/ 912 h 3594"/>
                <a:gd name="T4" fmla="*/ 877 w 10049"/>
                <a:gd name="T5" fmla="*/ 2052 h 3594"/>
                <a:gd name="T6" fmla="*/ 1593 w 10049"/>
                <a:gd name="T7" fmla="*/ 1235 h 3594"/>
                <a:gd name="T8" fmla="*/ 0 w 10049"/>
                <a:gd name="T9" fmla="*/ 1275 h 3594"/>
                <a:gd name="T10" fmla="*/ 877 w 10049"/>
                <a:gd name="T11" fmla="*/ 3594 h 3594"/>
                <a:gd name="T12" fmla="*/ 1594 w 10049"/>
                <a:gd name="T13" fmla="*/ 2849 h 3594"/>
                <a:gd name="T14" fmla="*/ 2475 w 10049"/>
                <a:gd name="T15" fmla="*/ 3594 h 3594"/>
                <a:gd name="T16" fmla="*/ 2132 w 10049"/>
                <a:gd name="T17" fmla="*/ 352 h 3594"/>
                <a:gd name="T18" fmla="*/ 338 w 10049"/>
                <a:gd name="T19" fmla="*/ 352 h 3594"/>
                <a:gd name="T20" fmla="*/ 5168 w 10049"/>
                <a:gd name="T21" fmla="*/ 3592 h 3594"/>
                <a:gd name="T22" fmla="*/ 6038 w 10049"/>
                <a:gd name="T23" fmla="*/ 2254 h 3594"/>
                <a:gd name="T24" fmla="*/ 6733 w 10049"/>
                <a:gd name="T25" fmla="*/ 3594 h 3594"/>
                <a:gd name="T26" fmla="*/ 7616 w 10049"/>
                <a:gd name="T27" fmla="*/ 60 h 3594"/>
                <a:gd name="T28" fmla="*/ 6733 w 10049"/>
                <a:gd name="T29" fmla="*/ 1407 h 3594"/>
                <a:gd name="T30" fmla="*/ 6038 w 10049"/>
                <a:gd name="T31" fmla="*/ 60 h 3594"/>
                <a:gd name="T32" fmla="*/ 4882 w 10049"/>
                <a:gd name="T33" fmla="*/ 59 h 3594"/>
                <a:gd name="T34" fmla="*/ 3132 w 10049"/>
                <a:gd name="T35" fmla="*/ 574 h 3594"/>
                <a:gd name="T36" fmla="*/ 3132 w 10049"/>
                <a:gd name="T37" fmla="*/ 3080 h 3594"/>
                <a:gd name="T38" fmla="*/ 4895 w 10049"/>
                <a:gd name="T39" fmla="*/ 3587 h 3594"/>
                <a:gd name="T40" fmla="*/ 4462 w 10049"/>
                <a:gd name="T41" fmla="*/ 2746 h 3594"/>
                <a:gd name="T42" fmla="*/ 3585 w 10049"/>
                <a:gd name="T43" fmla="*/ 1829 h 3594"/>
                <a:gd name="T44" fmla="*/ 4462 w 10049"/>
                <a:gd name="T45" fmla="*/ 906 h 3594"/>
                <a:gd name="T46" fmla="*/ 4882 w 10049"/>
                <a:gd name="T47" fmla="*/ 59 h 3594"/>
                <a:gd name="T48" fmla="*/ 8138 w 10049"/>
                <a:gd name="T49" fmla="*/ 302 h 3594"/>
                <a:gd name="T50" fmla="*/ 8052 w 10049"/>
                <a:gd name="T51" fmla="*/ 1643 h 3594"/>
                <a:gd name="T52" fmla="*/ 9101 w 10049"/>
                <a:gd name="T53" fmla="*/ 2586 h 3594"/>
                <a:gd name="T54" fmla="*/ 7861 w 10049"/>
                <a:gd name="T55" fmla="*/ 2777 h 3594"/>
                <a:gd name="T56" fmla="*/ 8803 w 10049"/>
                <a:gd name="T57" fmla="*/ 3594 h 3594"/>
                <a:gd name="T58" fmla="*/ 10049 w 10049"/>
                <a:gd name="T59" fmla="*/ 2535 h 3594"/>
                <a:gd name="T60" fmla="*/ 9146 w 10049"/>
                <a:gd name="T61" fmla="*/ 1421 h 3594"/>
                <a:gd name="T62" fmla="*/ 8788 w 10049"/>
                <a:gd name="T63" fmla="*/ 912 h 3594"/>
                <a:gd name="T64" fmla="*/ 9822 w 10049"/>
                <a:gd name="T65" fmla="*/ 877 h 3594"/>
                <a:gd name="T66" fmla="*/ 8904 w 10049"/>
                <a:gd name="T67" fmla="*/ 60 h 3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49" h="3594">
                  <a:moveTo>
                    <a:pt x="1593" y="1235"/>
                  </a:moveTo>
                  <a:cubicBezTo>
                    <a:pt x="1593" y="1104"/>
                    <a:pt x="1563" y="998"/>
                    <a:pt x="1492" y="917"/>
                  </a:cubicBezTo>
                  <a:cubicBezTo>
                    <a:pt x="1432" y="836"/>
                    <a:pt x="1346" y="796"/>
                    <a:pt x="1235" y="796"/>
                  </a:cubicBezTo>
                  <a:cubicBezTo>
                    <a:pt x="1124" y="796"/>
                    <a:pt x="1039" y="831"/>
                    <a:pt x="973" y="912"/>
                  </a:cubicBezTo>
                  <a:cubicBezTo>
                    <a:pt x="913" y="988"/>
                    <a:pt x="882" y="1094"/>
                    <a:pt x="877" y="1235"/>
                  </a:cubicBezTo>
                  <a:cubicBezTo>
                    <a:pt x="877" y="2052"/>
                    <a:pt x="877" y="2052"/>
                    <a:pt x="877" y="2052"/>
                  </a:cubicBezTo>
                  <a:cubicBezTo>
                    <a:pt x="1601" y="2053"/>
                    <a:pt x="1601" y="2053"/>
                    <a:pt x="1601" y="2053"/>
                  </a:cubicBezTo>
                  <a:lnTo>
                    <a:pt x="1593" y="1235"/>
                  </a:lnTo>
                  <a:close/>
                  <a:moveTo>
                    <a:pt x="338" y="352"/>
                  </a:moveTo>
                  <a:cubicBezTo>
                    <a:pt x="111" y="584"/>
                    <a:pt x="0" y="892"/>
                    <a:pt x="0" y="1275"/>
                  </a:cubicBezTo>
                  <a:cubicBezTo>
                    <a:pt x="0" y="3594"/>
                    <a:pt x="0" y="3594"/>
                    <a:pt x="0" y="3594"/>
                  </a:cubicBezTo>
                  <a:cubicBezTo>
                    <a:pt x="877" y="3594"/>
                    <a:pt x="877" y="3594"/>
                    <a:pt x="877" y="3594"/>
                  </a:cubicBezTo>
                  <a:cubicBezTo>
                    <a:pt x="877" y="2849"/>
                    <a:pt x="877" y="2849"/>
                    <a:pt x="877" y="2849"/>
                  </a:cubicBezTo>
                  <a:cubicBezTo>
                    <a:pt x="1594" y="2849"/>
                    <a:pt x="1594" y="2849"/>
                    <a:pt x="1594" y="2849"/>
                  </a:cubicBezTo>
                  <a:cubicBezTo>
                    <a:pt x="1593" y="3594"/>
                    <a:pt x="1593" y="3594"/>
                    <a:pt x="1593" y="3594"/>
                  </a:cubicBezTo>
                  <a:cubicBezTo>
                    <a:pt x="2475" y="3594"/>
                    <a:pt x="2475" y="3594"/>
                    <a:pt x="2475" y="3594"/>
                  </a:cubicBezTo>
                  <a:cubicBezTo>
                    <a:pt x="2475" y="1275"/>
                    <a:pt x="2475" y="1275"/>
                    <a:pt x="2475" y="1275"/>
                  </a:cubicBezTo>
                  <a:cubicBezTo>
                    <a:pt x="2470" y="892"/>
                    <a:pt x="2359" y="584"/>
                    <a:pt x="2132" y="352"/>
                  </a:cubicBezTo>
                  <a:cubicBezTo>
                    <a:pt x="1900" y="116"/>
                    <a:pt x="1603" y="0"/>
                    <a:pt x="1233" y="2"/>
                  </a:cubicBezTo>
                  <a:cubicBezTo>
                    <a:pt x="862" y="5"/>
                    <a:pt x="565" y="121"/>
                    <a:pt x="338" y="352"/>
                  </a:cubicBezTo>
                  <a:close/>
                  <a:moveTo>
                    <a:pt x="5167" y="56"/>
                  </a:moveTo>
                  <a:cubicBezTo>
                    <a:pt x="5168" y="3592"/>
                    <a:pt x="5168" y="3592"/>
                    <a:pt x="5168" y="3592"/>
                  </a:cubicBezTo>
                  <a:cubicBezTo>
                    <a:pt x="6038" y="3594"/>
                    <a:pt x="6038" y="3594"/>
                    <a:pt x="6038" y="3594"/>
                  </a:cubicBezTo>
                  <a:cubicBezTo>
                    <a:pt x="6038" y="2254"/>
                    <a:pt x="6038" y="2254"/>
                    <a:pt x="6038" y="2254"/>
                  </a:cubicBezTo>
                  <a:cubicBezTo>
                    <a:pt x="6733" y="2254"/>
                    <a:pt x="6733" y="2254"/>
                    <a:pt x="6733" y="2254"/>
                  </a:cubicBezTo>
                  <a:cubicBezTo>
                    <a:pt x="6733" y="3594"/>
                    <a:pt x="6733" y="3594"/>
                    <a:pt x="6733" y="3594"/>
                  </a:cubicBezTo>
                  <a:cubicBezTo>
                    <a:pt x="7616" y="3594"/>
                    <a:pt x="7616" y="3594"/>
                    <a:pt x="7616" y="3594"/>
                  </a:cubicBezTo>
                  <a:cubicBezTo>
                    <a:pt x="7616" y="60"/>
                    <a:pt x="7616" y="60"/>
                    <a:pt x="7616" y="60"/>
                  </a:cubicBezTo>
                  <a:cubicBezTo>
                    <a:pt x="6733" y="60"/>
                    <a:pt x="6733" y="60"/>
                    <a:pt x="6733" y="60"/>
                  </a:cubicBezTo>
                  <a:cubicBezTo>
                    <a:pt x="6733" y="1407"/>
                    <a:pt x="6733" y="1407"/>
                    <a:pt x="6733" y="1407"/>
                  </a:cubicBezTo>
                  <a:cubicBezTo>
                    <a:pt x="6038" y="1407"/>
                    <a:pt x="6038" y="1407"/>
                    <a:pt x="6038" y="1407"/>
                  </a:cubicBezTo>
                  <a:cubicBezTo>
                    <a:pt x="6038" y="60"/>
                    <a:pt x="6038" y="60"/>
                    <a:pt x="6038" y="60"/>
                  </a:cubicBezTo>
                  <a:cubicBezTo>
                    <a:pt x="5167" y="56"/>
                    <a:pt x="5167" y="56"/>
                    <a:pt x="5167" y="56"/>
                  </a:cubicBezTo>
                  <a:close/>
                  <a:moveTo>
                    <a:pt x="4882" y="59"/>
                  </a:moveTo>
                  <a:cubicBezTo>
                    <a:pt x="4301" y="60"/>
                    <a:pt x="4301" y="60"/>
                    <a:pt x="4301" y="60"/>
                  </a:cubicBezTo>
                  <a:cubicBezTo>
                    <a:pt x="3827" y="60"/>
                    <a:pt x="3439" y="232"/>
                    <a:pt x="3132" y="574"/>
                  </a:cubicBezTo>
                  <a:cubicBezTo>
                    <a:pt x="2819" y="917"/>
                    <a:pt x="2668" y="1336"/>
                    <a:pt x="2668" y="1830"/>
                  </a:cubicBezTo>
                  <a:cubicBezTo>
                    <a:pt x="2673" y="2324"/>
                    <a:pt x="2824" y="2737"/>
                    <a:pt x="3132" y="3080"/>
                  </a:cubicBezTo>
                  <a:cubicBezTo>
                    <a:pt x="3449" y="3423"/>
                    <a:pt x="3837" y="3594"/>
                    <a:pt x="4301" y="3594"/>
                  </a:cubicBezTo>
                  <a:cubicBezTo>
                    <a:pt x="4895" y="3587"/>
                    <a:pt x="4895" y="3587"/>
                    <a:pt x="4895" y="3587"/>
                  </a:cubicBezTo>
                  <a:cubicBezTo>
                    <a:pt x="4890" y="2745"/>
                    <a:pt x="4890" y="2745"/>
                    <a:pt x="4890" y="2745"/>
                  </a:cubicBezTo>
                  <a:cubicBezTo>
                    <a:pt x="4462" y="2746"/>
                    <a:pt x="4462" y="2746"/>
                    <a:pt x="4462" y="2746"/>
                  </a:cubicBezTo>
                  <a:cubicBezTo>
                    <a:pt x="4200" y="2741"/>
                    <a:pt x="3988" y="2666"/>
                    <a:pt x="3827" y="2515"/>
                  </a:cubicBezTo>
                  <a:cubicBezTo>
                    <a:pt x="3666" y="2353"/>
                    <a:pt x="3585" y="2126"/>
                    <a:pt x="3585" y="1829"/>
                  </a:cubicBezTo>
                  <a:cubicBezTo>
                    <a:pt x="3585" y="1521"/>
                    <a:pt x="3666" y="1295"/>
                    <a:pt x="3827" y="1143"/>
                  </a:cubicBezTo>
                  <a:cubicBezTo>
                    <a:pt x="3988" y="982"/>
                    <a:pt x="4200" y="906"/>
                    <a:pt x="4462" y="906"/>
                  </a:cubicBezTo>
                  <a:cubicBezTo>
                    <a:pt x="4882" y="906"/>
                    <a:pt x="4882" y="906"/>
                    <a:pt x="4882" y="906"/>
                  </a:cubicBezTo>
                  <a:lnTo>
                    <a:pt x="4882" y="59"/>
                  </a:lnTo>
                  <a:close/>
                  <a:moveTo>
                    <a:pt x="8904" y="60"/>
                  </a:moveTo>
                  <a:cubicBezTo>
                    <a:pt x="8592" y="60"/>
                    <a:pt x="8340" y="141"/>
                    <a:pt x="8138" y="302"/>
                  </a:cubicBezTo>
                  <a:cubicBezTo>
                    <a:pt x="7936" y="463"/>
                    <a:pt x="7836" y="716"/>
                    <a:pt x="7836" y="1058"/>
                  </a:cubicBezTo>
                  <a:cubicBezTo>
                    <a:pt x="7841" y="1310"/>
                    <a:pt x="7911" y="1502"/>
                    <a:pt x="8052" y="1643"/>
                  </a:cubicBezTo>
                  <a:cubicBezTo>
                    <a:pt x="8204" y="1789"/>
                    <a:pt x="8410" y="1956"/>
                    <a:pt x="8682" y="2152"/>
                  </a:cubicBezTo>
                  <a:cubicBezTo>
                    <a:pt x="8965" y="2354"/>
                    <a:pt x="9101" y="2495"/>
                    <a:pt x="9101" y="2586"/>
                  </a:cubicBezTo>
                  <a:cubicBezTo>
                    <a:pt x="9096" y="2717"/>
                    <a:pt x="8990" y="2777"/>
                    <a:pt x="8773" y="2777"/>
                  </a:cubicBezTo>
                  <a:cubicBezTo>
                    <a:pt x="7861" y="2777"/>
                    <a:pt x="7861" y="2777"/>
                    <a:pt x="7861" y="2777"/>
                  </a:cubicBezTo>
                  <a:cubicBezTo>
                    <a:pt x="7861" y="3594"/>
                    <a:pt x="7861" y="3594"/>
                    <a:pt x="7861" y="3594"/>
                  </a:cubicBezTo>
                  <a:cubicBezTo>
                    <a:pt x="8803" y="3594"/>
                    <a:pt x="8803" y="3594"/>
                    <a:pt x="8803" y="3594"/>
                  </a:cubicBezTo>
                  <a:cubicBezTo>
                    <a:pt x="9308" y="3594"/>
                    <a:pt x="9640" y="3493"/>
                    <a:pt x="9802" y="3291"/>
                  </a:cubicBezTo>
                  <a:cubicBezTo>
                    <a:pt x="9968" y="3090"/>
                    <a:pt x="10049" y="2838"/>
                    <a:pt x="10049" y="2535"/>
                  </a:cubicBezTo>
                  <a:cubicBezTo>
                    <a:pt x="10043" y="2288"/>
                    <a:pt x="9963" y="2092"/>
                    <a:pt x="9802" y="1935"/>
                  </a:cubicBezTo>
                  <a:cubicBezTo>
                    <a:pt x="9635" y="1774"/>
                    <a:pt x="9418" y="1603"/>
                    <a:pt x="9146" y="1421"/>
                  </a:cubicBezTo>
                  <a:cubicBezTo>
                    <a:pt x="8869" y="1230"/>
                    <a:pt x="8733" y="1099"/>
                    <a:pt x="8733" y="1023"/>
                  </a:cubicBezTo>
                  <a:cubicBezTo>
                    <a:pt x="8738" y="968"/>
                    <a:pt x="8753" y="932"/>
                    <a:pt x="8788" y="912"/>
                  </a:cubicBezTo>
                  <a:cubicBezTo>
                    <a:pt x="8829" y="887"/>
                    <a:pt x="8874" y="877"/>
                    <a:pt x="8934" y="877"/>
                  </a:cubicBezTo>
                  <a:cubicBezTo>
                    <a:pt x="9822" y="877"/>
                    <a:pt x="9822" y="877"/>
                    <a:pt x="9822" y="877"/>
                  </a:cubicBezTo>
                  <a:cubicBezTo>
                    <a:pt x="9822" y="60"/>
                    <a:pt x="9822" y="60"/>
                    <a:pt x="9822" y="60"/>
                  </a:cubicBezTo>
                  <a:lnTo>
                    <a:pt x="8904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024046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rgbClr val="0055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3C07B9-0E02-40E5-B56A-D758E6EFD3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4591">
              <a:solidFill>
                <a:srgbClr val="000000"/>
              </a:solidFill>
              <a:latin typeface="Arial Nova Light" panose="020B0304020202020204" pitchFamily="34" charset="0"/>
              <a:sym typeface="Arial Nova Light" panose="020B03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8A9DAD6-A38E-45FC-8A99-618245BFAE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346" y="1"/>
            <a:ext cx="10274654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51120DD-8614-4392-9142-5C620FD04B6F}"/>
              </a:ext>
            </a:extLst>
          </p:cNvPr>
          <p:cNvSpPr/>
          <p:nvPr userDrawn="1"/>
        </p:nvSpPr>
        <p:spPr>
          <a:xfrm>
            <a:off x="1897383" y="1"/>
            <a:ext cx="6416511" cy="6858000"/>
          </a:xfrm>
          <a:prstGeom prst="rect">
            <a:avLst/>
          </a:prstGeom>
          <a:gradFill>
            <a:gsLst>
              <a:gs pos="48000">
                <a:schemeClr val="accent2">
                  <a:alpha val="50000"/>
                </a:schemeClr>
              </a:gs>
              <a:gs pos="0">
                <a:srgbClr val="005450"/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37">
              <a:solidFill>
                <a:srgbClr val="000000"/>
              </a:solidFill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endParaRPr lang="es-CL" sz="1089">
              <a:solidFill>
                <a:srgbClr val="482A06"/>
              </a:solidFill>
              <a:latin typeface="Arial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11032394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r>
              <a:rPr lang="es-CL" sz="816" b="1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17105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r>
              <a:rPr lang="en-US" sz="816">
                <a:solidFill>
                  <a:srgbClr val="FFFFFF"/>
                </a:solidFill>
                <a:latin typeface="Arial"/>
              </a:rPr>
              <a:t>Last Modified 22-11-2019 9:02 Pacific SA Standard Time</a:t>
            </a:r>
            <a:endParaRPr lang="es-CL" sz="816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31389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r>
              <a:rPr lang="es-CL" sz="816">
                <a:solidFill>
                  <a:srgbClr val="FFFFFF"/>
                </a:solidFill>
                <a:latin typeface="Arial"/>
              </a:rPr>
              <a:t>Printed 21-08-2019 18:24 Pacific SA Standard Tim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53811" y="6583543"/>
            <a:ext cx="522460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s-CL" sz="816">
                <a:solidFill>
                  <a:srgbClr val="FFFFFF"/>
                </a:solidFill>
              </a:rPr>
              <a:t>CONFIDENTIAL AND PROPRIETARY Any use of this material without specific permission is strictly prohibi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53813" y="3263099"/>
            <a:ext cx="5397639" cy="1413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591" noProof="0" dirty="0">
                <a:solidFill>
                  <a:schemeClr val="bg1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pPr lvl="0"/>
            <a:r>
              <a:rPr lang="es-CL" noProof="0" err="1"/>
              <a:t>Click</a:t>
            </a:r>
            <a:r>
              <a:rPr lang="es-CL" noProof="0"/>
              <a:t> </a:t>
            </a:r>
            <a:r>
              <a:rPr lang="es-CL" noProof="0" err="1"/>
              <a:t>to</a:t>
            </a:r>
            <a:r>
              <a:rPr lang="es-CL" noProof="0"/>
              <a:t> </a:t>
            </a:r>
            <a:r>
              <a:rPr lang="es-CL" noProof="0" err="1"/>
              <a:t>edit</a:t>
            </a:r>
            <a:r>
              <a:rPr lang="es-CL" noProof="0"/>
              <a:t> Master </a:t>
            </a:r>
            <a:r>
              <a:rPr lang="es-CL" noProof="0" err="1"/>
              <a:t>title</a:t>
            </a:r>
            <a:r>
              <a:rPr lang="es-CL" noProof="0"/>
              <a:t> </a:t>
            </a:r>
            <a:r>
              <a:rPr lang="es-CL" noProof="0" err="1"/>
              <a:t>style</a:t>
            </a:r>
            <a:endParaRPr lang="es-CL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53812" y="5460724"/>
            <a:ext cx="5397640" cy="1888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24" cap="all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s-CL" noProof="0" err="1"/>
              <a:t>Click</a:t>
            </a:r>
            <a:r>
              <a:rPr lang="es-CL" noProof="0"/>
              <a:t> </a:t>
            </a:r>
            <a:r>
              <a:rPr lang="es-CL" noProof="0" err="1"/>
              <a:t>to</a:t>
            </a:r>
            <a:r>
              <a:rPr lang="es-CL" noProof="0"/>
              <a:t> </a:t>
            </a:r>
            <a:r>
              <a:rPr lang="es-CL" noProof="0" err="1"/>
              <a:t>edit</a:t>
            </a:r>
            <a:r>
              <a:rPr lang="es-CL" noProof="0"/>
              <a:t> Master </a:t>
            </a:r>
            <a:r>
              <a:rPr lang="es-CL" noProof="0" err="1"/>
              <a:t>subtitle</a:t>
            </a:r>
            <a:r>
              <a:rPr lang="es-CL" noProof="0"/>
              <a:t> </a:t>
            </a:r>
            <a:r>
              <a:rPr lang="es-CL" noProof="0" err="1"/>
              <a:t>style</a:t>
            </a:r>
            <a:endParaRPr lang="es-CL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53812" y="5807410"/>
            <a:ext cx="5397640" cy="19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0" hangingPunct="1">
              <a:defRPr sz="1200" baseline="0">
                <a:solidFill>
                  <a:schemeClr val="bg1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s-CL" sz="1224">
                <a:solidFill>
                  <a:srgbClr val="FFFFFF"/>
                </a:solidFill>
              </a:rPr>
              <a:t>Document type | Dat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A569AA2-5EE2-48C2-8925-5234118C587B}"/>
              </a:ext>
            </a:extLst>
          </p:cNvPr>
          <p:cNvGrpSpPr/>
          <p:nvPr userDrawn="1"/>
        </p:nvGrpSpPr>
        <p:grpSpPr>
          <a:xfrm>
            <a:off x="353812" y="728646"/>
            <a:ext cx="1387922" cy="1380403"/>
            <a:chOff x="-8636776" y="2758539"/>
            <a:chExt cx="6757987" cy="6721475"/>
          </a:xfrm>
        </p:grpSpPr>
        <p:sp>
          <p:nvSpPr>
            <p:cNvPr id="31" name="AutoShape 461">
              <a:extLst>
                <a:ext uri="{FF2B5EF4-FFF2-40B4-BE49-F238E27FC236}">
                  <a16:creationId xmlns:a16="http://schemas.microsoft.com/office/drawing/2014/main" id="{0FAD0503-7922-44F2-8DDB-0E68D793E60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32" name="Rectangle 463">
              <a:extLst>
                <a:ext uri="{FF2B5EF4-FFF2-40B4-BE49-F238E27FC236}">
                  <a16:creationId xmlns:a16="http://schemas.microsoft.com/office/drawing/2014/main" id="{98DCA5AB-91BB-4E89-B217-96241BF5DD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noFill/>
            <a:ln w="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33" name="Freeform 464">
              <a:extLst>
                <a:ext uri="{FF2B5EF4-FFF2-40B4-BE49-F238E27FC236}">
                  <a16:creationId xmlns:a16="http://schemas.microsoft.com/office/drawing/2014/main" id="{82DA92F1-6B6C-445C-BB8D-A07AFE9338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065276" y="6873339"/>
              <a:ext cx="5680075" cy="2028825"/>
            </a:xfrm>
            <a:custGeom>
              <a:avLst/>
              <a:gdLst>
                <a:gd name="T0" fmla="*/ 1492 w 10049"/>
                <a:gd name="T1" fmla="*/ 917 h 3594"/>
                <a:gd name="T2" fmla="*/ 973 w 10049"/>
                <a:gd name="T3" fmla="*/ 912 h 3594"/>
                <a:gd name="T4" fmla="*/ 877 w 10049"/>
                <a:gd name="T5" fmla="*/ 2052 h 3594"/>
                <a:gd name="T6" fmla="*/ 1593 w 10049"/>
                <a:gd name="T7" fmla="*/ 1235 h 3594"/>
                <a:gd name="T8" fmla="*/ 0 w 10049"/>
                <a:gd name="T9" fmla="*/ 1275 h 3594"/>
                <a:gd name="T10" fmla="*/ 877 w 10049"/>
                <a:gd name="T11" fmla="*/ 3594 h 3594"/>
                <a:gd name="T12" fmla="*/ 1594 w 10049"/>
                <a:gd name="T13" fmla="*/ 2849 h 3594"/>
                <a:gd name="T14" fmla="*/ 2475 w 10049"/>
                <a:gd name="T15" fmla="*/ 3594 h 3594"/>
                <a:gd name="T16" fmla="*/ 2132 w 10049"/>
                <a:gd name="T17" fmla="*/ 352 h 3594"/>
                <a:gd name="T18" fmla="*/ 338 w 10049"/>
                <a:gd name="T19" fmla="*/ 352 h 3594"/>
                <a:gd name="T20" fmla="*/ 5168 w 10049"/>
                <a:gd name="T21" fmla="*/ 3592 h 3594"/>
                <a:gd name="T22" fmla="*/ 6038 w 10049"/>
                <a:gd name="T23" fmla="*/ 2254 h 3594"/>
                <a:gd name="T24" fmla="*/ 6733 w 10049"/>
                <a:gd name="T25" fmla="*/ 3594 h 3594"/>
                <a:gd name="T26" fmla="*/ 7616 w 10049"/>
                <a:gd name="T27" fmla="*/ 60 h 3594"/>
                <a:gd name="T28" fmla="*/ 6733 w 10049"/>
                <a:gd name="T29" fmla="*/ 1407 h 3594"/>
                <a:gd name="T30" fmla="*/ 6038 w 10049"/>
                <a:gd name="T31" fmla="*/ 60 h 3594"/>
                <a:gd name="T32" fmla="*/ 4882 w 10049"/>
                <a:gd name="T33" fmla="*/ 59 h 3594"/>
                <a:gd name="T34" fmla="*/ 3132 w 10049"/>
                <a:gd name="T35" fmla="*/ 574 h 3594"/>
                <a:gd name="T36" fmla="*/ 3132 w 10049"/>
                <a:gd name="T37" fmla="*/ 3080 h 3594"/>
                <a:gd name="T38" fmla="*/ 4895 w 10049"/>
                <a:gd name="T39" fmla="*/ 3587 h 3594"/>
                <a:gd name="T40" fmla="*/ 4462 w 10049"/>
                <a:gd name="T41" fmla="*/ 2746 h 3594"/>
                <a:gd name="T42" fmla="*/ 3585 w 10049"/>
                <a:gd name="T43" fmla="*/ 1829 h 3594"/>
                <a:gd name="T44" fmla="*/ 4462 w 10049"/>
                <a:gd name="T45" fmla="*/ 906 h 3594"/>
                <a:gd name="T46" fmla="*/ 4882 w 10049"/>
                <a:gd name="T47" fmla="*/ 59 h 3594"/>
                <a:gd name="T48" fmla="*/ 8138 w 10049"/>
                <a:gd name="T49" fmla="*/ 302 h 3594"/>
                <a:gd name="T50" fmla="*/ 8052 w 10049"/>
                <a:gd name="T51" fmla="*/ 1643 h 3594"/>
                <a:gd name="T52" fmla="*/ 9101 w 10049"/>
                <a:gd name="T53" fmla="*/ 2586 h 3594"/>
                <a:gd name="T54" fmla="*/ 7861 w 10049"/>
                <a:gd name="T55" fmla="*/ 2777 h 3594"/>
                <a:gd name="T56" fmla="*/ 8803 w 10049"/>
                <a:gd name="T57" fmla="*/ 3594 h 3594"/>
                <a:gd name="T58" fmla="*/ 10049 w 10049"/>
                <a:gd name="T59" fmla="*/ 2535 h 3594"/>
                <a:gd name="T60" fmla="*/ 9146 w 10049"/>
                <a:gd name="T61" fmla="*/ 1421 h 3594"/>
                <a:gd name="T62" fmla="*/ 8788 w 10049"/>
                <a:gd name="T63" fmla="*/ 912 h 3594"/>
                <a:gd name="T64" fmla="*/ 9822 w 10049"/>
                <a:gd name="T65" fmla="*/ 877 h 3594"/>
                <a:gd name="T66" fmla="*/ 8904 w 10049"/>
                <a:gd name="T67" fmla="*/ 60 h 3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49" h="3594">
                  <a:moveTo>
                    <a:pt x="1593" y="1235"/>
                  </a:moveTo>
                  <a:cubicBezTo>
                    <a:pt x="1593" y="1104"/>
                    <a:pt x="1563" y="998"/>
                    <a:pt x="1492" y="917"/>
                  </a:cubicBezTo>
                  <a:cubicBezTo>
                    <a:pt x="1432" y="836"/>
                    <a:pt x="1346" y="796"/>
                    <a:pt x="1235" y="796"/>
                  </a:cubicBezTo>
                  <a:cubicBezTo>
                    <a:pt x="1124" y="796"/>
                    <a:pt x="1039" y="831"/>
                    <a:pt x="973" y="912"/>
                  </a:cubicBezTo>
                  <a:cubicBezTo>
                    <a:pt x="913" y="988"/>
                    <a:pt x="882" y="1094"/>
                    <a:pt x="877" y="1235"/>
                  </a:cubicBezTo>
                  <a:cubicBezTo>
                    <a:pt x="877" y="2052"/>
                    <a:pt x="877" y="2052"/>
                    <a:pt x="877" y="2052"/>
                  </a:cubicBezTo>
                  <a:cubicBezTo>
                    <a:pt x="1601" y="2053"/>
                    <a:pt x="1601" y="2053"/>
                    <a:pt x="1601" y="2053"/>
                  </a:cubicBezTo>
                  <a:lnTo>
                    <a:pt x="1593" y="1235"/>
                  </a:lnTo>
                  <a:close/>
                  <a:moveTo>
                    <a:pt x="338" y="352"/>
                  </a:moveTo>
                  <a:cubicBezTo>
                    <a:pt x="111" y="584"/>
                    <a:pt x="0" y="892"/>
                    <a:pt x="0" y="1275"/>
                  </a:cubicBezTo>
                  <a:cubicBezTo>
                    <a:pt x="0" y="3594"/>
                    <a:pt x="0" y="3594"/>
                    <a:pt x="0" y="3594"/>
                  </a:cubicBezTo>
                  <a:cubicBezTo>
                    <a:pt x="877" y="3594"/>
                    <a:pt x="877" y="3594"/>
                    <a:pt x="877" y="3594"/>
                  </a:cubicBezTo>
                  <a:cubicBezTo>
                    <a:pt x="877" y="2849"/>
                    <a:pt x="877" y="2849"/>
                    <a:pt x="877" y="2849"/>
                  </a:cubicBezTo>
                  <a:cubicBezTo>
                    <a:pt x="1594" y="2849"/>
                    <a:pt x="1594" y="2849"/>
                    <a:pt x="1594" y="2849"/>
                  </a:cubicBezTo>
                  <a:cubicBezTo>
                    <a:pt x="1593" y="3594"/>
                    <a:pt x="1593" y="3594"/>
                    <a:pt x="1593" y="3594"/>
                  </a:cubicBezTo>
                  <a:cubicBezTo>
                    <a:pt x="2475" y="3594"/>
                    <a:pt x="2475" y="3594"/>
                    <a:pt x="2475" y="3594"/>
                  </a:cubicBezTo>
                  <a:cubicBezTo>
                    <a:pt x="2475" y="1275"/>
                    <a:pt x="2475" y="1275"/>
                    <a:pt x="2475" y="1275"/>
                  </a:cubicBezTo>
                  <a:cubicBezTo>
                    <a:pt x="2470" y="892"/>
                    <a:pt x="2359" y="584"/>
                    <a:pt x="2132" y="352"/>
                  </a:cubicBezTo>
                  <a:cubicBezTo>
                    <a:pt x="1900" y="116"/>
                    <a:pt x="1603" y="0"/>
                    <a:pt x="1233" y="2"/>
                  </a:cubicBezTo>
                  <a:cubicBezTo>
                    <a:pt x="862" y="5"/>
                    <a:pt x="565" y="121"/>
                    <a:pt x="338" y="352"/>
                  </a:cubicBezTo>
                  <a:close/>
                  <a:moveTo>
                    <a:pt x="5167" y="56"/>
                  </a:moveTo>
                  <a:cubicBezTo>
                    <a:pt x="5168" y="3592"/>
                    <a:pt x="5168" y="3592"/>
                    <a:pt x="5168" y="3592"/>
                  </a:cubicBezTo>
                  <a:cubicBezTo>
                    <a:pt x="6038" y="3594"/>
                    <a:pt x="6038" y="3594"/>
                    <a:pt x="6038" y="3594"/>
                  </a:cubicBezTo>
                  <a:cubicBezTo>
                    <a:pt x="6038" y="2254"/>
                    <a:pt x="6038" y="2254"/>
                    <a:pt x="6038" y="2254"/>
                  </a:cubicBezTo>
                  <a:cubicBezTo>
                    <a:pt x="6733" y="2254"/>
                    <a:pt x="6733" y="2254"/>
                    <a:pt x="6733" y="2254"/>
                  </a:cubicBezTo>
                  <a:cubicBezTo>
                    <a:pt x="6733" y="3594"/>
                    <a:pt x="6733" y="3594"/>
                    <a:pt x="6733" y="3594"/>
                  </a:cubicBezTo>
                  <a:cubicBezTo>
                    <a:pt x="7616" y="3594"/>
                    <a:pt x="7616" y="3594"/>
                    <a:pt x="7616" y="3594"/>
                  </a:cubicBezTo>
                  <a:cubicBezTo>
                    <a:pt x="7616" y="60"/>
                    <a:pt x="7616" y="60"/>
                    <a:pt x="7616" y="60"/>
                  </a:cubicBezTo>
                  <a:cubicBezTo>
                    <a:pt x="6733" y="60"/>
                    <a:pt x="6733" y="60"/>
                    <a:pt x="6733" y="60"/>
                  </a:cubicBezTo>
                  <a:cubicBezTo>
                    <a:pt x="6733" y="1407"/>
                    <a:pt x="6733" y="1407"/>
                    <a:pt x="6733" y="1407"/>
                  </a:cubicBezTo>
                  <a:cubicBezTo>
                    <a:pt x="6038" y="1407"/>
                    <a:pt x="6038" y="1407"/>
                    <a:pt x="6038" y="1407"/>
                  </a:cubicBezTo>
                  <a:cubicBezTo>
                    <a:pt x="6038" y="60"/>
                    <a:pt x="6038" y="60"/>
                    <a:pt x="6038" y="60"/>
                  </a:cubicBezTo>
                  <a:cubicBezTo>
                    <a:pt x="5167" y="56"/>
                    <a:pt x="5167" y="56"/>
                    <a:pt x="5167" y="56"/>
                  </a:cubicBezTo>
                  <a:close/>
                  <a:moveTo>
                    <a:pt x="4882" y="59"/>
                  </a:moveTo>
                  <a:cubicBezTo>
                    <a:pt x="4301" y="60"/>
                    <a:pt x="4301" y="60"/>
                    <a:pt x="4301" y="60"/>
                  </a:cubicBezTo>
                  <a:cubicBezTo>
                    <a:pt x="3827" y="60"/>
                    <a:pt x="3439" y="232"/>
                    <a:pt x="3132" y="574"/>
                  </a:cubicBezTo>
                  <a:cubicBezTo>
                    <a:pt x="2819" y="917"/>
                    <a:pt x="2668" y="1336"/>
                    <a:pt x="2668" y="1830"/>
                  </a:cubicBezTo>
                  <a:cubicBezTo>
                    <a:pt x="2673" y="2324"/>
                    <a:pt x="2824" y="2737"/>
                    <a:pt x="3132" y="3080"/>
                  </a:cubicBezTo>
                  <a:cubicBezTo>
                    <a:pt x="3449" y="3423"/>
                    <a:pt x="3837" y="3594"/>
                    <a:pt x="4301" y="3594"/>
                  </a:cubicBezTo>
                  <a:cubicBezTo>
                    <a:pt x="4895" y="3587"/>
                    <a:pt x="4895" y="3587"/>
                    <a:pt x="4895" y="3587"/>
                  </a:cubicBezTo>
                  <a:cubicBezTo>
                    <a:pt x="4890" y="2745"/>
                    <a:pt x="4890" y="2745"/>
                    <a:pt x="4890" y="2745"/>
                  </a:cubicBezTo>
                  <a:cubicBezTo>
                    <a:pt x="4462" y="2746"/>
                    <a:pt x="4462" y="2746"/>
                    <a:pt x="4462" y="2746"/>
                  </a:cubicBezTo>
                  <a:cubicBezTo>
                    <a:pt x="4200" y="2741"/>
                    <a:pt x="3988" y="2666"/>
                    <a:pt x="3827" y="2515"/>
                  </a:cubicBezTo>
                  <a:cubicBezTo>
                    <a:pt x="3666" y="2353"/>
                    <a:pt x="3585" y="2126"/>
                    <a:pt x="3585" y="1829"/>
                  </a:cubicBezTo>
                  <a:cubicBezTo>
                    <a:pt x="3585" y="1521"/>
                    <a:pt x="3666" y="1295"/>
                    <a:pt x="3827" y="1143"/>
                  </a:cubicBezTo>
                  <a:cubicBezTo>
                    <a:pt x="3988" y="982"/>
                    <a:pt x="4200" y="906"/>
                    <a:pt x="4462" y="906"/>
                  </a:cubicBezTo>
                  <a:cubicBezTo>
                    <a:pt x="4882" y="906"/>
                    <a:pt x="4882" y="906"/>
                    <a:pt x="4882" y="906"/>
                  </a:cubicBezTo>
                  <a:lnTo>
                    <a:pt x="4882" y="59"/>
                  </a:lnTo>
                  <a:close/>
                  <a:moveTo>
                    <a:pt x="8904" y="60"/>
                  </a:moveTo>
                  <a:cubicBezTo>
                    <a:pt x="8592" y="60"/>
                    <a:pt x="8340" y="141"/>
                    <a:pt x="8138" y="302"/>
                  </a:cubicBezTo>
                  <a:cubicBezTo>
                    <a:pt x="7936" y="463"/>
                    <a:pt x="7836" y="716"/>
                    <a:pt x="7836" y="1058"/>
                  </a:cubicBezTo>
                  <a:cubicBezTo>
                    <a:pt x="7841" y="1310"/>
                    <a:pt x="7911" y="1502"/>
                    <a:pt x="8052" y="1643"/>
                  </a:cubicBezTo>
                  <a:cubicBezTo>
                    <a:pt x="8204" y="1789"/>
                    <a:pt x="8410" y="1956"/>
                    <a:pt x="8682" y="2152"/>
                  </a:cubicBezTo>
                  <a:cubicBezTo>
                    <a:pt x="8965" y="2354"/>
                    <a:pt x="9101" y="2495"/>
                    <a:pt x="9101" y="2586"/>
                  </a:cubicBezTo>
                  <a:cubicBezTo>
                    <a:pt x="9096" y="2717"/>
                    <a:pt x="8990" y="2777"/>
                    <a:pt x="8773" y="2777"/>
                  </a:cubicBezTo>
                  <a:cubicBezTo>
                    <a:pt x="7861" y="2777"/>
                    <a:pt x="7861" y="2777"/>
                    <a:pt x="7861" y="2777"/>
                  </a:cubicBezTo>
                  <a:cubicBezTo>
                    <a:pt x="7861" y="3594"/>
                    <a:pt x="7861" y="3594"/>
                    <a:pt x="7861" y="3594"/>
                  </a:cubicBezTo>
                  <a:cubicBezTo>
                    <a:pt x="8803" y="3594"/>
                    <a:pt x="8803" y="3594"/>
                    <a:pt x="8803" y="3594"/>
                  </a:cubicBezTo>
                  <a:cubicBezTo>
                    <a:pt x="9308" y="3594"/>
                    <a:pt x="9640" y="3493"/>
                    <a:pt x="9802" y="3291"/>
                  </a:cubicBezTo>
                  <a:cubicBezTo>
                    <a:pt x="9968" y="3090"/>
                    <a:pt x="10049" y="2838"/>
                    <a:pt x="10049" y="2535"/>
                  </a:cubicBezTo>
                  <a:cubicBezTo>
                    <a:pt x="10043" y="2288"/>
                    <a:pt x="9963" y="2092"/>
                    <a:pt x="9802" y="1935"/>
                  </a:cubicBezTo>
                  <a:cubicBezTo>
                    <a:pt x="9635" y="1774"/>
                    <a:pt x="9418" y="1603"/>
                    <a:pt x="9146" y="1421"/>
                  </a:cubicBezTo>
                  <a:cubicBezTo>
                    <a:pt x="8869" y="1230"/>
                    <a:pt x="8733" y="1099"/>
                    <a:pt x="8733" y="1023"/>
                  </a:cubicBezTo>
                  <a:cubicBezTo>
                    <a:pt x="8738" y="968"/>
                    <a:pt x="8753" y="932"/>
                    <a:pt x="8788" y="912"/>
                  </a:cubicBezTo>
                  <a:cubicBezTo>
                    <a:pt x="8829" y="887"/>
                    <a:pt x="8874" y="877"/>
                    <a:pt x="8934" y="877"/>
                  </a:cubicBezTo>
                  <a:cubicBezTo>
                    <a:pt x="9822" y="877"/>
                    <a:pt x="9822" y="877"/>
                    <a:pt x="9822" y="877"/>
                  </a:cubicBezTo>
                  <a:cubicBezTo>
                    <a:pt x="9822" y="60"/>
                    <a:pt x="9822" y="60"/>
                    <a:pt x="9822" y="60"/>
                  </a:cubicBezTo>
                  <a:lnTo>
                    <a:pt x="8904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37753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bg>
      <p:bgPr>
        <a:solidFill>
          <a:srgbClr val="0055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3C07B9-0E02-40E5-B56A-D758E6EFD3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4591">
              <a:solidFill>
                <a:srgbClr val="000000"/>
              </a:solidFill>
              <a:latin typeface="Arial Nova Light" panose="020B0304020202020204" pitchFamily="34" charset="0"/>
              <a:sym typeface="Arial Nova Light" panose="020B03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EDF8955-1EC3-4154-B922-737071265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2000" cy="6858000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endParaRPr lang="es-CL" sz="1089">
              <a:solidFill>
                <a:srgbClr val="482A06"/>
              </a:solidFill>
              <a:latin typeface="Arial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11032394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r>
              <a:rPr lang="es-CL" sz="816" b="1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17105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r>
              <a:rPr lang="en-US" sz="816">
                <a:solidFill>
                  <a:srgbClr val="FFFFFF"/>
                </a:solidFill>
                <a:latin typeface="Arial"/>
              </a:rPr>
              <a:t>Last Modified 22-11-2019 9:02 Pacific SA Standard Time</a:t>
            </a:r>
            <a:endParaRPr lang="es-CL" sz="816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31389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r>
              <a:rPr lang="es-CL" sz="816">
                <a:solidFill>
                  <a:srgbClr val="FFFFFF"/>
                </a:solidFill>
                <a:latin typeface="Arial"/>
              </a:rPr>
              <a:t>Printed 21-08-2019 18:24 Pacific SA Standard Tim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53811" y="6583543"/>
            <a:ext cx="522460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s-CL" sz="816">
                <a:solidFill>
                  <a:srgbClr val="FFFFFF"/>
                </a:solidFill>
              </a:rPr>
              <a:t>CONFIDENTIAL AND PROPRIETARY Any use of this material without specific permission is strictly prohibi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53813" y="3263099"/>
            <a:ext cx="5397639" cy="1413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591" noProof="0" dirty="0">
                <a:solidFill>
                  <a:schemeClr val="bg1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pPr lvl="0"/>
            <a:r>
              <a:rPr lang="es-CL" noProof="0" err="1"/>
              <a:t>Click</a:t>
            </a:r>
            <a:r>
              <a:rPr lang="es-CL" noProof="0"/>
              <a:t> </a:t>
            </a:r>
            <a:r>
              <a:rPr lang="es-CL" noProof="0" err="1"/>
              <a:t>to</a:t>
            </a:r>
            <a:r>
              <a:rPr lang="es-CL" noProof="0"/>
              <a:t> </a:t>
            </a:r>
            <a:r>
              <a:rPr lang="es-CL" noProof="0" err="1"/>
              <a:t>edit</a:t>
            </a:r>
            <a:r>
              <a:rPr lang="es-CL" noProof="0"/>
              <a:t> Master </a:t>
            </a:r>
            <a:r>
              <a:rPr lang="es-CL" noProof="0" err="1"/>
              <a:t>title</a:t>
            </a:r>
            <a:r>
              <a:rPr lang="es-CL" noProof="0"/>
              <a:t> </a:t>
            </a:r>
            <a:r>
              <a:rPr lang="es-CL" noProof="0" err="1"/>
              <a:t>style</a:t>
            </a:r>
            <a:endParaRPr lang="es-CL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53812" y="5460724"/>
            <a:ext cx="5397640" cy="1888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24" cap="all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s-CL" noProof="0" err="1"/>
              <a:t>Click</a:t>
            </a:r>
            <a:r>
              <a:rPr lang="es-CL" noProof="0"/>
              <a:t> </a:t>
            </a:r>
            <a:r>
              <a:rPr lang="es-CL" noProof="0" err="1"/>
              <a:t>to</a:t>
            </a:r>
            <a:r>
              <a:rPr lang="es-CL" noProof="0"/>
              <a:t> </a:t>
            </a:r>
            <a:r>
              <a:rPr lang="es-CL" noProof="0" err="1"/>
              <a:t>edit</a:t>
            </a:r>
            <a:r>
              <a:rPr lang="es-CL" noProof="0"/>
              <a:t> Master </a:t>
            </a:r>
            <a:r>
              <a:rPr lang="es-CL" noProof="0" err="1"/>
              <a:t>subtitle</a:t>
            </a:r>
            <a:r>
              <a:rPr lang="es-CL" noProof="0"/>
              <a:t> </a:t>
            </a:r>
            <a:r>
              <a:rPr lang="es-CL" noProof="0" err="1"/>
              <a:t>style</a:t>
            </a:r>
            <a:endParaRPr lang="es-CL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53812" y="5807410"/>
            <a:ext cx="5397640" cy="19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0" hangingPunct="1">
              <a:defRPr sz="1200" baseline="0">
                <a:solidFill>
                  <a:schemeClr val="bg1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s-CL" sz="1224">
                <a:solidFill>
                  <a:srgbClr val="FFFFFF"/>
                </a:solidFill>
              </a:rPr>
              <a:t>Document type | Dat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A569AA2-5EE2-48C2-8925-5234118C587B}"/>
              </a:ext>
            </a:extLst>
          </p:cNvPr>
          <p:cNvGrpSpPr/>
          <p:nvPr userDrawn="1"/>
        </p:nvGrpSpPr>
        <p:grpSpPr>
          <a:xfrm>
            <a:off x="353812" y="-1"/>
            <a:ext cx="1688500" cy="1679353"/>
            <a:chOff x="-8636776" y="2758539"/>
            <a:chExt cx="6757987" cy="6721475"/>
          </a:xfrm>
        </p:grpSpPr>
        <p:sp>
          <p:nvSpPr>
            <p:cNvPr id="31" name="AutoShape 461">
              <a:extLst>
                <a:ext uri="{FF2B5EF4-FFF2-40B4-BE49-F238E27FC236}">
                  <a16:creationId xmlns:a16="http://schemas.microsoft.com/office/drawing/2014/main" id="{0FAD0503-7922-44F2-8DDB-0E68D793E60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32" name="Rectangle 463">
              <a:extLst>
                <a:ext uri="{FF2B5EF4-FFF2-40B4-BE49-F238E27FC236}">
                  <a16:creationId xmlns:a16="http://schemas.microsoft.com/office/drawing/2014/main" id="{98DCA5AB-91BB-4E89-B217-96241BF5DD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solidFill>
              <a:srgbClr val="057835"/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33" name="Freeform 464">
              <a:extLst>
                <a:ext uri="{FF2B5EF4-FFF2-40B4-BE49-F238E27FC236}">
                  <a16:creationId xmlns:a16="http://schemas.microsoft.com/office/drawing/2014/main" id="{82DA92F1-6B6C-445C-BB8D-A07AFE9338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065276" y="6873339"/>
              <a:ext cx="5680075" cy="2028825"/>
            </a:xfrm>
            <a:custGeom>
              <a:avLst/>
              <a:gdLst>
                <a:gd name="T0" fmla="*/ 1492 w 10049"/>
                <a:gd name="T1" fmla="*/ 917 h 3594"/>
                <a:gd name="T2" fmla="*/ 973 w 10049"/>
                <a:gd name="T3" fmla="*/ 912 h 3594"/>
                <a:gd name="T4" fmla="*/ 877 w 10049"/>
                <a:gd name="T5" fmla="*/ 2052 h 3594"/>
                <a:gd name="T6" fmla="*/ 1593 w 10049"/>
                <a:gd name="T7" fmla="*/ 1235 h 3594"/>
                <a:gd name="T8" fmla="*/ 0 w 10049"/>
                <a:gd name="T9" fmla="*/ 1275 h 3594"/>
                <a:gd name="T10" fmla="*/ 877 w 10049"/>
                <a:gd name="T11" fmla="*/ 3594 h 3594"/>
                <a:gd name="T12" fmla="*/ 1594 w 10049"/>
                <a:gd name="T13" fmla="*/ 2849 h 3594"/>
                <a:gd name="T14" fmla="*/ 2475 w 10049"/>
                <a:gd name="T15" fmla="*/ 3594 h 3594"/>
                <a:gd name="T16" fmla="*/ 2132 w 10049"/>
                <a:gd name="T17" fmla="*/ 352 h 3594"/>
                <a:gd name="T18" fmla="*/ 338 w 10049"/>
                <a:gd name="T19" fmla="*/ 352 h 3594"/>
                <a:gd name="T20" fmla="*/ 5168 w 10049"/>
                <a:gd name="T21" fmla="*/ 3592 h 3594"/>
                <a:gd name="T22" fmla="*/ 6038 w 10049"/>
                <a:gd name="T23" fmla="*/ 2254 h 3594"/>
                <a:gd name="T24" fmla="*/ 6733 w 10049"/>
                <a:gd name="T25" fmla="*/ 3594 h 3594"/>
                <a:gd name="T26" fmla="*/ 7616 w 10049"/>
                <a:gd name="T27" fmla="*/ 60 h 3594"/>
                <a:gd name="T28" fmla="*/ 6733 w 10049"/>
                <a:gd name="T29" fmla="*/ 1407 h 3594"/>
                <a:gd name="T30" fmla="*/ 6038 w 10049"/>
                <a:gd name="T31" fmla="*/ 60 h 3594"/>
                <a:gd name="T32" fmla="*/ 4882 w 10049"/>
                <a:gd name="T33" fmla="*/ 59 h 3594"/>
                <a:gd name="T34" fmla="*/ 3132 w 10049"/>
                <a:gd name="T35" fmla="*/ 574 h 3594"/>
                <a:gd name="T36" fmla="*/ 3132 w 10049"/>
                <a:gd name="T37" fmla="*/ 3080 h 3594"/>
                <a:gd name="T38" fmla="*/ 4895 w 10049"/>
                <a:gd name="T39" fmla="*/ 3587 h 3594"/>
                <a:gd name="T40" fmla="*/ 4462 w 10049"/>
                <a:gd name="T41" fmla="*/ 2746 h 3594"/>
                <a:gd name="T42" fmla="*/ 3585 w 10049"/>
                <a:gd name="T43" fmla="*/ 1829 h 3594"/>
                <a:gd name="T44" fmla="*/ 4462 w 10049"/>
                <a:gd name="T45" fmla="*/ 906 h 3594"/>
                <a:gd name="T46" fmla="*/ 4882 w 10049"/>
                <a:gd name="T47" fmla="*/ 59 h 3594"/>
                <a:gd name="T48" fmla="*/ 8138 w 10049"/>
                <a:gd name="T49" fmla="*/ 302 h 3594"/>
                <a:gd name="T50" fmla="*/ 8052 w 10049"/>
                <a:gd name="T51" fmla="*/ 1643 h 3594"/>
                <a:gd name="T52" fmla="*/ 9101 w 10049"/>
                <a:gd name="T53" fmla="*/ 2586 h 3594"/>
                <a:gd name="T54" fmla="*/ 7861 w 10049"/>
                <a:gd name="T55" fmla="*/ 2777 h 3594"/>
                <a:gd name="T56" fmla="*/ 8803 w 10049"/>
                <a:gd name="T57" fmla="*/ 3594 h 3594"/>
                <a:gd name="T58" fmla="*/ 10049 w 10049"/>
                <a:gd name="T59" fmla="*/ 2535 h 3594"/>
                <a:gd name="T60" fmla="*/ 9146 w 10049"/>
                <a:gd name="T61" fmla="*/ 1421 h 3594"/>
                <a:gd name="T62" fmla="*/ 8788 w 10049"/>
                <a:gd name="T63" fmla="*/ 912 h 3594"/>
                <a:gd name="T64" fmla="*/ 9822 w 10049"/>
                <a:gd name="T65" fmla="*/ 877 h 3594"/>
                <a:gd name="T66" fmla="*/ 8904 w 10049"/>
                <a:gd name="T67" fmla="*/ 60 h 3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49" h="3594">
                  <a:moveTo>
                    <a:pt x="1593" y="1235"/>
                  </a:moveTo>
                  <a:cubicBezTo>
                    <a:pt x="1593" y="1104"/>
                    <a:pt x="1563" y="998"/>
                    <a:pt x="1492" y="917"/>
                  </a:cubicBezTo>
                  <a:cubicBezTo>
                    <a:pt x="1432" y="836"/>
                    <a:pt x="1346" y="796"/>
                    <a:pt x="1235" y="796"/>
                  </a:cubicBezTo>
                  <a:cubicBezTo>
                    <a:pt x="1124" y="796"/>
                    <a:pt x="1039" y="831"/>
                    <a:pt x="973" y="912"/>
                  </a:cubicBezTo>
                  <a:cubicBezTo>
                    <a:pt x="913" y="988"/>
                    <a:pt x="882" y="1094"/>
                    <a:pt x="877" y="1235"/>
                  </a:cubicBezTo>
                  <a:cubicBezTo>
                    <a:pt x="877" y="2052"/>
                    <a:pt x="877" y="2052"/>
                    <a:pt x="877" y="2052"/>
                  </a:cubicBezTo>
                  <a:cubicBezTo>
                    <a:pt x="1601" y="2053"/>
                    <a:pt x="1601" y="2053"/>
                    <a:pt x="1601" y="2053"/>
                  </a:cubicBezTo>
                  <a:lnTo>
                    <a:pt x="1593" y="1235"/>
                  </a:lnTo>
                  <a:close/>
                  <a:moveTo>
                    <a:pt x="338" y="352"/>
                  </a:moveTo>
                  <a:cubicBezTo>
                    <a:pt x="111" y="584"/>
                    <a:pt x="0" y="892"/>
                    <a:pt x="0" y="1275"/>
                  </a:cubicBezTo>
                  <a:cubicBezTo>
                    <a:pt x="0" y="3594"/>
                    <a:pt x="0" y="3594"/>
                    <a:pt x="0" y="3594"/>
                  </a:cubicBezTo>
                  <a:cubicBezTo>
                    <a:pt x="877" y="3594"/>
                    <a:pt x="877" y="3594"/>
                    <a:pt x="877" y="3594"/>
                  </a:cubicBezTo>
                  <a:cubicBezTo>
                    <a:pt x="877" y="2849"/>
                    <a:pt x="877" y="2849"/>
                    <a:pt x="877" y="2849"/>
                  </a:cubicBezTo>
                  <a:cubicBezTo>
                    <a:pt x="1594" y="2849"/>
                    <a:pt x="1594" y="2849"/>
                    <a:pt x="1594" y="2849"/>
                  </a:cubicBezTo>
                  <a:cubicBezTo>
                    <a:pt x="1593" y="3594"/>
                    <a:pt x="1593" y="3594"/>
                    <a:pt x="1593" y="3594"/>
                  </a:cubicBezTo>
                  <a:cubicBezTo>
                    <a:pt x="2475" y="3594"/>
                    <a:pt x="2475" y="3594"/>
                    <a:pt x="2475" y="3594"/>
                  </a:cubicBezTo>
                  <a:cubicBezTo>
                    <a:pt x="2475" y="1275"/>
                    <a:pt x="2475" y="1275"/>
                    <a:pt x="2475" y="1275"/>
                  </a:cubicBezTo>
                  <a:cubicBezTo>
                    <a:pt x="2470" y="892"/>
                    <a:pt x="2359" y="584"/>
                    <a:pt x="2132" y="352"/>
                  </a:cubicBezTo>
                  <a:cubicBezTo>
                    <a:pt x="1900" y="116"/>
                    <a:pt x="1603" y="0"/>
                    <a:pt x="1233" y="2"/>
                  </a:cubicBezTo>
                  <a:cubicBezTo>
                    <a:pt x="862" y="5"/>
                    <a:pt x="565" y="121"/>
                    <a:pt x="338" y="352"/>
                  </a:cubicBezTo>
                  <a:close/>
                  <a:moveTo>
                    <a:pt x="5167" y="56"/>
                  </a:moveTo>
                  <a:cubicBezTo>
                    <a:pt x="5168" y="3592"/>
                    <a:pt x="5168" y="3592"/>
                    <a:pt x="5168" y="3592"/>
                  </a:cubicBezTo>
                  <a:cubicBezTo>
                    <a:pt x="6038" y="3594"/>
                    <a:pt x="6038" y="3594"/>
                    <a:pt x="6038" y="3594"/>
                  </a:cubicBezTo>
                  <a:cubicBezTo>
                    <a:pt x="6038" y="2254"/>
                    <a:pt x="6038" y="2254"/>
                    <a:pt x="6038" y="2254"/>
                  </a:cubicBezTo>
                  <a:cubicBezTo>
                    <a:pt x="6733" y="2254"/>
                    <a:pt x="6733" y="2254"/>
                    <a:pt x="6733" y="2254"/>
                  </a:cubicBezTo>
                  <a:cubicBezTo>
                    <a:pt x="6733" y="3594"/>
                    <a:pt x="6733" y="3594"/>
                    <a:pt x="6733" y="3594"/>
                  </a:cubicBezTo>
                  <a:cubicBezTo>
                    <a:pt x="7616" y="3594"/>
                    <a:pt x="7616" y="3594"/>
                    <a:pt x="7616" y="3594"/>
                  </a:cubicBezTo>
                  <a:cubicBezTo>
                    <a:pt x="7616" y="60"/>
                    <a:pt x="7616" y="60"/>
                    <a:pt x="7616" y="60"/>
                  </a:cubicBezTo>
                  <a:cubicBezTo>
                    <a:pt x="6733" y="60"/>
                    <a:pt x="6733" y="60"/>
                    <a:pt x="6733" y="60"/>
                  </a:cubicBezTo>
                  <a:cubicBezTo>
                    <a:pt x="6733" y="1407"/>
                    <a:pt x="6733" y="1407"/>
                    <a:pt x="6733" y="1407"/>
                  </a:cubicBezTo>
                  <a:cubicBezTo>
                    <a:pt x="6038" y="1407"/>
                    <a:pt x="6038" y="1407"/>
                    <a:pt x="6038" y="1407"/>
                  </a:cubicBezTo>
                  <a:cubicBezTo>
                    <a:pt x="6038" y="60"/>
                    <a:pt x="6038" y="60"/>
                    <a:pt x="6038" y="60"/>
                  </a:cubicBezTo>
                  <a:cubicBezTo>
                    <a:pt x="5167" y="56"/>
                    <a:pt x="5167" y="56"/>
                    <a:pt x="5167" y="56"/>
                  </a:cubicBezTo>
                  <a:close/>
                  <a:moveTo>
                    <a:pt x="4882" y="59"/>
                  </a:moveTo>
                  <a:cubicBezTo>
                    <a:pt x="4301" y="60"/>
                    <a:pt x="4301" y="60"/>
                    <a:pt x="4301" y="60"/>
                  </a:cubicBezTo>
                  <a:cubicBezTo>
                    <a:pt x="3827" y="60"/>
                    <a:pt x="3439" y="232"/>
                    <a:pt x="3132" y="574"/>
                  </a:cubicBezTo>
                  <a:cubicBezTo>
                    <a:pt x="2819" y="917"/>
                    <a:pt x="2668" y="1336"/>
                    <a:pt x="2668" y="1830"/>
                  </a:cubicBezTo>
                  <a:cubicBezTo>
                    <a:pt x="2673" y="2324"/>
                    <a:pt x="2824" y="2737"/>
                    <a:pt x="3132" y="3080"/>
                  </a:cubicBezTo>
                  <a:cubicBezTo>
                    <a:pt x="3449" y="3423"/>
                    <a:pt x="3837" y="3594"/>
                    <a:pt x="4301" y="3594"/>
                  </a:cubicBezTo>
                  <a:cubicBezTo>
                    <a:pt x="4895" y="3587"/>
                    <a:pt x="4895" y="3587"/>
                    <a:pt x="4895" y="3587"/>
                  </a:cubicBezTo>
                  <a:cubicBezTo>
                    <a:pt x="4890" y="2745"/>
                    <a:pt x="4890" y="2745"/>
                    <a:pt x="4890" y="2745"/>
                  </a:cubicBezTo>
                  <a:cubicBezTo>
                    <a:pt x="4462" y="2746"/>
                    <a:pt x="4462" y="2746"/>
                    <a:pt x="4462" y="2746"/>
                  </a:cubicBezTo>
                  <a:cubicBezTo>
                    <a:pt x="4200" y="2741"/>
                    <a:pt x="3988" y="2666"/>
                    <a:pt x="3827" y="2515"/>
                  </a:cubicBezTo>
                  <a:cubicBezTo>
                    <a:pt x="3666" y="2353"/>
                    <a:pt x="3585" y="2126"/>
                    <a:pt x="3585" y="1829"/>
                  </a:cubicBezTo>
                  <a:cubicBezTo>
                    <a:pt x="3585" y="1521"/>
                    <a:pt x="3666" y="1295"/>
                    <a:pt x="3827" y="1143"/>
                  </a:cubicBezTo>
                  <a:cubicBezTo>
                    <a:pt x="3988" y="982"/>
                    <a:pt x="4200" y="906"/>
                    <a:pt x="4462" y="906"/>
                  </a:cubicBezTo>
                  <a:cubicBezTo>
                    <a:pt x="4882" y="906"/>
                    <a:pt x="4882" y="906"/>
                    <a:pt x="4882" y="906"/>
                  </a:cubicBezTo>
                  <a:lnTo>
                    <a:pt x="4882" y="59"/>
                  </a:lnTo>
                  <a:close/>
                  <a:moveTo>
                    <a:pt x="8904" y="60"/>
                  </a:moveTo>
                  <a:cubicBezTo>
                    <a:pt x="8592" y="60"/>
                    <a:pt x="8340" y="141"/>
                    <a:pt x="8138" y="302"/>
                  </a:cubicBezTo>
                  <a:cubicBezTo>
                    <a:pt x="7936" y="463"/>
                    <a:pt x="7836" y="716"/>
                    <a:pt x="7836" y="1058"/>
                  </a:cubicBezTo>
                  <a:cubicBezTo>
                    <a:pt x="7841" y="1310"/>
                    <a:pt x="7911" y="1502"/>
                    <a:pt x="8052" y="1643"/>
                  </a:cubicBezTo>
                  <a:cubicBezTo>
                    <a:pt x="8204" y="1789"/>
                    <a:pt x="8410" y="1956"/>
                    <a:pt x="8682" y="2152"/>
                  </a:cubicBezTo>
                  <a:cubicBezTo>
                    <a:pt x="8965" y="2354"/>
                    <a:pt x="9101" y="2495"/>
                    <a:pt x="9101" y="2586"/>
                  </a:cubicBezTo>
                  <a:cubicBezTo>
                    <a:pt x="9096" y="2717"/>
                    <a:pt x="8990" y="2777"/>
                    <a:pt x="8773" y="2777"/>
                  </a:cubicBezTo>
                  <a:cubicBezTo>
                    <a:pt x="7861" y="2777"/>
                    <a:pt x="7861" y="2777"/>
                    <a:pt x="7861" y="2777"/>
                  </a:cubicBezTo>
                  <a:cubicBezTo>
                    <a:pt x="7861" y="3594"/>
                    <a:pt x="7861" y="3594"/>
                    <a:pt x="7861" y="3594"/>
                  </a:cubicBezTo>
                  <a:cubicBezTo>
                    <a:pt x="8803" y="3594"/>
                    <a:pt x="8803" y="3594"/>
                    <a:pt x="8803" y="3594"/>
                  </a:cubicBezTo>
                  <a:cubicBezTo>
                    <a:pt x="9308" y="3594"/>
                    <a:pt x="9640" y="3493"/>
                    <a:pt x="9802" y="3291"/>
                  </a:cubicBezTo>
                  <a:cubicBezTo>
                    <a:pt x="9968" y="3090"/>
                    <a:pt x="10049" y="2838"/>
                    <a:pt x="10049" y="2535"/>
                  </a:cubicBezTo>
                  <a:cubicBezTo>
                    <a:pt x="10043" y="2288"/>
                    <a:pt x="9963" y="2092"/>
                    <a:pt x="9802" y="1935"/>
                  </a:cubicBezTo>
                  <a:cubicBezTo>
                    <a:pt x="9635" y="1774"/>
                    <a:pt x="9418" y="1603"/>
                    <a:pt x="9146" y="1421"/>
                  </a:cubicBezTo>
                  <a:cubicBezTo>
                    <a:pt x="8869" y="1230"/>
                    <a:pt x="8733" y="1099"/>
                    <a:pt x="8733" y="1023"/>
                  </a:cubicBezTo>
                  <a:cubicBezTo>
                    <a:pt x="8738" y="968"/>
                    <a:pt x="8753" y="932"/>
                    <a:pt x="8788" y="912"/>
                  </a:cubicBezTo>
                  <a:cubicBezTo>
                    <a:pt x="8829" y="887"/>
                    <a:pt x="8874" y="877"/>
                    <a:pt x="8934" y="877"/>
                  </a:cubicBezTo>
                  <a:cubicBezTo>
                    <a:pt x="9822" y="877"/>
                    <a:pt x="9822" y="877"/>
                    <a:pt x="9822" y="877"/>
                  </a:cubicBezTo>
                  <a:cubicBezTo>
                    <a:pt x="9822" y="60"/>
                    <a:pt x="9822" y="60"/>
                    <a:pt x="9822" y="60"/>
                  </a:cubicBezTo>
                  <a:lnTo>
                    <a:pt x="8904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94372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1036831-915A-DE4B-8CE3-6EC7EAA59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41419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0E1EB5-C47E-4365-90B8-B587584F7E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0E1EB5-C47E-4365-90B8-B587584F7E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F516F80-5723-403F-96E4-95C2EA22B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204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87" y="466736"/>
            <a:ext cx="11725484" cy="314028"/>
          </a:xfrm>
        </p:spPr>
        <p:txBody>
          <a:bodyPr/>
          <a:lstStyle/>
          <a:p>
            <a:r>
              <a:rPr lang="es-CL" err="1"/>
              <a:t>Click</a:t>
            </a:r>
            <a:r>
              <a:rPr lang="es-CL"/>
              <a:t> </a:t>
            </a:r>
            <a:r>
              <a:rPr lang="es-CL" err="1"/>
              <a:t>to</a:t>
            </a:r>
            <a:r>
              <a:rPr lang="es-CL"/>
              <a:t> </a:t>
            </a:r>
            <a:r>
              <a:rPr lang="es-CL" err="1"/>
              <a:t>edit</a:t>
            </a:r>
            <a:r>
              <a:rPr lang="es-CL"/>
              <a:t> Master </a:t>
            </a:r>
            <a:r>
              <a:rPr lang="es-CL" err="1"/>
              <a:t>title</a:t>
            </a:r>
            <a:r>
              <a:rPr lang="es-CL"/>
              <a:t> </a:t>
            </a:r>
            <a:r>
              <a:rPr lang="es-CL" err="1"/>
              <a:t>style</a:t>
            </a:r>
            <a:endParaRPr lang="es-CL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CL" sz="612">
              <a:solidFill>
                <a:srgbClr val="808080"/>
              </a:solidFill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99A05D7-46BD-4D2F-9B0C-1CACF1B3FE2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862395" y="6642112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CL" sz="816" smtClean="0">
                <a:solidFill>
                  <a:srgbClr val="808080"/>
                </a:solidFill>
              </a:rPr>
              <a:pPr algn="ctr"/>
              <a:t>‹Nº›</a:t>
            </a:fld>
            <a:endParaRPr lang="es-CL" sz="816">
              <a:solidFill>
                <a:srgbClr val="808080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78B1231-4B26-4335-AAC6-023EAAFC3979}"/>
              </a:ext>
            </a:extLst>
          </p:cNvPr>
          <p:cNvCxnSpPr/>
          <p:nvPr userDrawn="1"/>
        </p:nvCxnSpPr>
        <p:spPr>
          <a:xfrm>
            <a:off x="11798897" y="6792822"/>
            <a:ext cx="315089" cy="0"/>
          </a:xfrm>
          <a:prstGeom prst="line">
            <a:avLst/>
          </a:prstGeom>
          <a:ln w="12700">
            <a:solidFill>
              <a:schemeClr val="accent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F0024B4-F71D-4F98-BCFB-1FFAAEBBC8F0}"/>
              </a:ext>
            </a:extLst>
          </p:cNvPr>
          <p:cNvGrpSpPr/>
          <p:nvPr userDrawn="1"/>
        </p:nvGrpSpPr>
        <p:grpSpPr>
          <a:xfrm>
            <a:off x="11310083" y="6439458"/>
            <a:ext cx="420822" cy="418542"/>
            <a:chOff x="-8636776" y="2758539"/>
            <a:chExt cx="6757987" cy="6721475"/>
          </a:xfrm>
        </p:grpSpPr>
        <p:sp>
          <p:nvSpPr>
            <p:cNvPr id="28" name="AutoShape 461">
              <a:extLst>
                <a:ext uri="{FF2B5EF4-FFF2-40B4-BE49-F238E27FC236}">
                  <a16:creationId xmlns:a16="http://schemas.microsoft.com/office/drawing/2014/main" id="{99634CE8-B858-490F-902D-4A9522B9B4D1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29" name="Rectangle 463">
              <a:extLst>
                <a:ext uri="{FF2B5EF4-FFF2-40B4-BE49-F238E27FC236}">
                  <a16:creationId xmlns:a16="http://schemas.microsoft.com/office/drawing/2014/main" id="{F3E9423B-DD16-4948-9B43-03397D438B6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solidFill>
              <a:srgbClr val="007F46"/>
            </a:solidFill>
            <a:ln w="0" cap="flat">
              <a:solidFill>
                <a:srgbClr val="007F4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30" name="Freeform 464">
              <a:extLst>
                <a:ext uri="{FF2B5EF4-FFF2-40B4-BE49-F238E27FC236}">
                  <a16:creationId xmlns:a16="http://schemas.microsoft.com/office/drawing/2014/main" id="{B6B75CF6-698D-47C4-B4EC-AB82E4A3F2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065276" y="6873339"/>
              <a:ext cx="5680075" cy="2028825"/>
            </a:xfrm>
            <a:custGeom>
              <a:avLst/>
              <a:gdLst>
                <a:gd name="T0" fmla="*/ 1492 w 10049"/>
                <a:gd name="T1" fmla="*/ 917 h 3594"/>
                <a:gd name="T2" fmla="*/ 973 w 10049"/>
                <a:gd name="T3" fmla="*/ 912 h 3594"/>
                <a:gd name="T4" fmla="*/ 877 w 10049"/>
                <a:gd name="T5" fmla="*/ 2052 h 3594"/>
                <a:gd name="T6" fmla="*/ 1593 w 10049"/>
                <a:gd name="T7" fmla="*/ 1235 h 3594"/>
                <a:gd name="T8" fmla="*/ 0 w 10049"/>
                <a:gd name="T9" fmla="*/ 1275 h 3594"/>
                <a:gd name="T10" fmla="*/ 877 w 10049"/>
                <a:gd name="T11" fmla="*/ 3594 h 3594"/>
                <a:gd name="T12" fmla="*/ 1594 w 10049"/>
                <a:gd name="T13" fmla="*/ 2849 h 3594"/>
                <a:gd name="T14" fmla="*/ 2475 w 10049"/>
                <a:gd name="T15" fmla="*/ 3594 h 3594"/>
                <a:gd name="T16" fmla="*/ 2132 w 10049"/>
                <a:gd name="T17" fmla="*/ 352 h 3594"/>
                <a:gd name="T18" fmla="*/ 338 w 10049"/>
                <a:gd name="T19" fmla="*/ 352 h 3594"/>
                <a:gd name="T20" fmla="*/ 5168 w 10049"/>
                <a:gd name="T21" fmla="*/ 3592 h 3594"/>
                <a:gd name="T22" fmla="*/ 6038 w 10049"/>
                <a:gd name="T23" fmla="*/ 2254 h 3594"/>
                <a:gd name="T24" fmla="*/ 6733 w 10049"/>
                <a:gd name="T25" fmla="*/ 3594 h 3594"/>
                <a:gd name="T26" fmla="*/ 7616 w 10049"/>
                <a:gd name="T27" fmla="*/ 60 h 3594"/>
                <a:gd name="T28" fmla="*/ 6733 w 10049"/>
                <a:gd name="T29" fmla="*/ 1407 h 3594"/>
                <a:gd name="T30" fmla="*/ 6038 w 10049"/>
                <a:gd name="T31" fmla="*/ 60 h 3594"/>
                <a:gd name="T32" fmla="*/ 4882 w 10049"/>
                <a:gd name="T33" fmla="*/ 59 h 3594"/>
                <a:gd name="T34" fmla="*/ 3132 w 10049"/>
                <a:gd name="T35" fmla="*/ 574 h 3594"/>
                <a:gd name="T36" fmla="*/ 3132 w 10049"/>
                <a:gd name="T37" fmla="*/ 3080 h 3594"/>
                <a:gd name="T38" fmla="*/ 4895 w 10049"/>
                <a:gd name="T39" fmla="*/ 3587 h 3594"/>
                <a:gd name="T40" fmla="*/ 4462 w 10049"/>
                <a:gd name="T41" fmla="*/ 2746 h 3594"/>
                <a:gd name="T42" fmla="*/ 3585 w 10049"/>
                <a:gd name="T43" fmla="*/ 1829 h 3594"/>
                <a:gd name="T44" fmla="*/ 4462 w 10049"/>
                <a:gd name="T45" fmla="*/ 906 h 3594"/>
                <a:gd name="T46" fmla="*/ 4882 w 10049"/>
                <a:gd name="T47" fmla="*/ 59 h 3594"/>
                <a:gd name="T48" fmla="*/ 8138 w 10049"/>
                <a:gd name="T49" fmla="*/ 302 h 3594"/>
                <a:gd name="T50" fmla="*/ 8052 w 10049"/>
                <a:gd name="T51" fmla="*/ 1643 h 3594"/>
                <a:gd name="T52" fmla="*/ 9101 w 10049"/>
                <a:gd name="T53" fmla="*/ 2586 h 3594"/>
                <a:gd name="T54" fmla="*/ 7861 w 10049"/>
                <a:gd name="T55" fmla="*/ 2777 h 3594"/>
                <a:gd name="T56" fmla="*/ 8803 w 10049"/>
                <a:gd name="T57" fmla="*/ 3594 h 3594"/>
                <a:gd name="T58" fmla="*/ 10049 w 10049"/>
                <a:gd name="T59" fmla="*/ 2535 h 3594"/>
                <a:gd name="T60" fmla="*/ 9146 w 10049"/>
                <a:gd name="T61" fmla="*/ 1421 h 3594"/>
                <a:gd name="T62" fmla="*/ 8788 w 10049"/>
                <a:gd name="T63" fmla="*/ 912 h 3594"/>
                <a:gd name="T64" fmla="*/ 9822 w 10049"/>
                <a:gd name="T65" fmla="*/ 877 h 3594"/>
                <a:gd name="T66" fmla="*/ 8904 w 10049"/>
                <a:gd name="T67" fmla="*/ 60 h 3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49" h="3594">
                  <a:moveTo>
                    <a:pt x="1593" y="1235"/>
                  </a:moveTo>
                  <a:cubicBezTo>
                    <a:pt x="1593" y="1104"/>
                    <a:pt x="1563" y="998"/>
                    <a:pt x="1492" y="917"/>
                  </a:cubicBezTo>
                  <a:cubicBezTo>
                    <a:pt x="1432" y="836"/>
                    <a:pt x="1346" y="796"/>
                    <a:pt x="1235" y="796"/>
                  </a:cubicBezTo>
                  <a:cubicBezTo>
                    <a:pt x="1124" y="796"/>
                    <a:pt x="1039" y="831"/>
                    <a:pt x="973" y="912"/>
                  </a:cubicBezTo>
                  <a:cubicBezTo>
                    <a:pt x="913" y="988"/>
                    <a:pt x="882" y="1094"/>
                    <a:pt x="877" y="1235"/>
                  </a:cubicBezTo>
                  <a:cubicBezTo>
                    <a:pt x="877" y="2052"/>
                    <a:pt x="877" y="2052"/>
                    <a:pt x="877" y="2052"/>
                  </a:cubicBezTo>
                  <a:cubicBezTo>
                    <a:pt x="1601" y="2053"/>
                    <a:pt x="1601" y="2053"/>
                    <a:pt x="1601" y="2053"/>
                  </a:cubicBezTo>
                  <a:lnTo>
                    <a:pt x="1593" y="1235"/>
                  </a:lnTo>
                  <a:close/>
                  <a:moveTo>
                    <a:pt x="338" y="352"/>
                  </a:moveTo>
                  <a:cubicBezTo>
                    <a:pt x="111" y="584"/>
                    <a:pt x="0" y="892"/>
                    <a:pt x="0" y="1275"/>
                  </a:cubicBezTo>
                  <a:cubicBezTo>
                    <a:pt x="0" y="3594"/>
                    <a:pt x="0" y="3594"/>
                    <a:pt x="0" y="3594"/>
                  </a:cubicBezTo>
                  <a:cubicBezTo>
                    <a:pt x="877" y="3594"/>
                    <a:pt x="877" y="3594"/>
                    <a:pt x="877" y="3594"/>
                  </a:cubicBezTo>
                  <a:cubicBezTo>
                    <a:pt x="877" y="2849"/>
                    <a:pt x="877" y="2849"/>
                    <a:pt x="877" y="2849"/>
                  </a:cubicBezTo>
                  <a:cubicBezTo>
                    <a:pt x="1594" y="2849"/>
                    <a:pt x="1594" y="2849"/>
                    <a:pt x="1594" y="2849"/>
                  </a:cubicBezTo>
                  <a:cubicBezTo>
                    <a:pt x="1593" y="3594"/>
                    <a:pt x="1593" y="3594"/>
                    <a:pt x="1593" y="3594"/>
                  </a:cubicBezTo>
                  <a:cubicBezTo>
                    <a:pt x="2475" y="3594"/>
                    <a:pt x="2475" y="3594"/>
                    <a:pt x="2475" y="3594"/>
                  </a:cubicBezTo>
                  <a:cubicBezTo>
                    <a:pt x="2475" y="1275"/>
                    <a:pt x="2475" y="1275"/>
                    <a:pt x="2475" y="1275"/>
                  </a:cubicBezTo>
                  <a:cubicBezTo>
                    <a:pt x="2470" y="892"/>
                    <a:pt x="2359" y="584"/>
                    <a:pt x="2132" y="352"/>
                  </a:cubicBezTo>
                  <a:cubicBezTo>
                    <a:pt x="1900" y="116"/>
                    <a:pt x="1603" y="0"/>
                    <a:pt x="1233" y="2"/>
                  </a:cubicBezTo>
                  <a:cubicBezTo>
                    <a:pt x="862" y="5"/>
                    <a:pt x="565" y="121"/>
                    <a:pt x="338" y="352"/>
                  </a:cubicBezTo>
                  <a:close/>
                  <a:moveTo>
                    <a:pt x="5167" y="56"/>
                  </a:moveTo>
                  <a:cubicBezTo>
                    <a:pt x="5168" y="3592"/>
                    <a:pt x="5168" y="3592"/>
                    <a:pt x="5168" y="3592"/>
                  </a:cubicBezTo>
                  <a:cubicBezTo>
                    <a:pt x="6038" y="3594"/>
                    <a:pt x="6038" y="3594"/>
                    <a:pt x="6038" y="3594"/>
                  </a:cubicBezTo>
                  <a:cubicBezTo>
                    <a:pt x="6038" y="2254"/>
                    <a:pt x="6038" y="2254"/>
                    <a:pt x="6038" y="2254"/>
                  </a:cubicBezTo>
                  <a:cubicBezTo>
                    <a:pt x="6733" y="2254"/>
                    <a:pt x="6733" y="2254"/>
                    <a:pt x="6733" y="2254"/>
                  </a:cubicBezTo>
                  <a:cubicBezTo>
                    <a:pt x="6733" y="3594"/>
                    <a:pt x="6733" y="3594"/>
                    <a:pt x="6733" y="3594"/>
                  </a:cubicBezTo>
                  <a:cubicBezTo>
                    <a:pt x="7616" y="3594"/>
                    <a:pt x="7616" y="3594"/>
                    <a:pt x="7616" y="3594"/>
                  </a:cubicBezTo>
                  <a:cubicBezTo>
                    <a:pt x="7616" y="60"/>
                    <a:pt x="7616" y="60"/>
                    <a:pt x="7616" y="60"/>
                  </a:cubicBezTo>
                  <a:cubicBezTo>
                    <a:pt x="6733" y="60"/>
                    <a:pt x="6733" y="60"/>
                    <a:pt x="6733" y="60"/>
                  </a:cubicBezTo>
                  <a:cubicBezTo>
                    <a:pt x="6733" y="1407"/>
                    <a:pt x="6733" y="1407"/>
                    <a:pt x="6733" y="1407"/>
                  </a:cubicBezTo>
                  <a:cubicBezTo>
                    <a:pt x="6038" y="1407"/>
                    <a:pt x="6038" y="1407"/>
                    <a:pt x="6038" y="1407"/>
                  </a:cubicBezTo>
                  <a:cubicBezTo>
                    <a:pt x="6038" y="60"/>
                    <a:pt x="6038" y="60"/>
                    <a:pt x="6038" y="60"/>
                  </a:cubicBezTo>
                  <a:cubicBezTo>
                    <a:pt x="5167" y="56"/>
                    <a:pt x="5167" y="56"/>
                    <a:pt x="5167" y="56"/>
                  </a:cubicBezTo>
                  <a:close/>
                  <a:moveTo>
                    <a:pt x="4882" y="59"/>
                  </a:moveTo>
                  <a:cubicBezTo>
                    <a:pt x="4301" y="60"/>
                    <a:pt x="4301" y="60"/>
                    <a:pt x="4301" y="60"/>
                  </a:cubicBezTo>
                  <a:cubicBezTo>
                    <a:pt x="3827" y="60"/>
                    <a:pt x="3439" y="232"/>
                    <a:pt x="3132" y="574"/>
                  </a:cubicBezTo>
                  <a:cubicBezTo>
                    <a:pt x="2819" y="917"/>
                    <a:pt x="2668" y="1336"/>
                    <a:pt x="2668" y="1830"/>
                  </a:cubicBezTo>
                  <a:cubicBezTo>
                    <a:pt x="2673" y="2324"/>
                    <a:pt x="2824" y="2737"/>
                    <a:pt x="3132" y="3080"/>
                  </a:cubicBezTo>
                  <a:cubicBezTo>
                    <a:pt x="3449" y="3423"/>
                    <a:pt x="3837" y="3594"/>
                    <a:pt x="4301" y="3594"/>
                  </a:cubicBezTo>
                  <a:cubicBezTo>
                    <a:pt x="4895" y="3587"/>
                    <a:pt x="4895" y="3587"/>
                    <a:pt x="4895" y="3587"/>
                  </a:cubicBezTo>
                  <a:cubicBezTo>
                    <a:pt x="4890" y="2745"/>
                    <a:pt x="4890" y="2745"/>
                    <a:pt x="4890" y="2745"/>
                  </a:cubicBezTo>
                  <a:cubicBezTo>
                    <a:pt x="4462" y="2746"/>
                    <a:pt x="4462" y="2746"/>
                    <a:pt x="4462" y="2746"/>
                  </a:cubicBezTo>
                  <a:cubicBezTo>
                    <a:pt x="4200" y="2741"/>
                    <a:pt x="3988" y="2666"/>
                    <a:pt x="3827" y="2515"/>
                  </a:cubicBezTo>
                  <a:cubicBezTo>
                    <a:pt x="3666" y="2353"/>
                    <a:pt x="3585" y="2126"/>
                    <a:pt x="3585" y="1829"/>
                  </a:cubicBezTo>
                  <a:cubicBezTo>
                    <a:pt x="3585" y="1521"/>
                    <a:pt x="3666" y="1295"/>
                    <a:pt x="3827" y="1143"/>
                  </a:cubicBezTo>
                  <a:cubicBezTo>
                    <a:pt x="3988" y="982"/>
                    <a:pt x="4200" y="906"/>
                    <a:pt x="4462" y="906"/>
                  </a:cubicBezTo>
                  <a:cubicBezTo>
                    <a:pt x="4882" y="906"/>
                    <a:pt x="4882" y="906"/>
                    <a:pt x="4882" y="906"/>
                  </a:cubicBezTo>
                  <a:lnTo>
                    <a:pt x="4882" y="59"/>
                  </a:lnTo>
                  <a:close/>
                  <a:moveTo>
                    <a:pt x="8904" y="60"/>
                  </a:moveTo>
                  <a:cubicBezTo>
                    <a:pt x="8592" y="60"/>
                    <a:pt x="8340" y="141"/>
                    <a:pt x="8138" y="302"/>
                  </a:cubicBezTo>
                  <a:cubicBezTo>
                    <a:pt x="7936" y="463"/>
                    <a:pt x="7836" y="716"/>
                    <a:pt x="7836" y="1058"/>
                  </a:cubicBezTo>
                  <a:cubicBezTo>
                    <a:pt x="7841" y="1310"/>
                    <a:pt x="7911" y="1502"/>
                    <a:pt x="8052" y="1643"/>
                  </a:cubicBezTo>
                  <a:cubicBezTo>
                    <a:pt x="8204" y="1789"/>
                    <a:pt x="8410" y="1956"/>
                    <a:pt x="8682" y="2152"/>
                  </a:cubicBezTo>
                  <a:cubicBezTo>
                    <a:pt x="8965" y="2354"/>
                    <a:pt x="9101" y="2495"/>
                    <a:pt x="9101" y="2586"/>
                  </a:cubicBezTo>
                  <a:cubicBezTo>
                    <a:pt x="9096" y="2717"/>
                    <a:pt x="8990" y="2777"/>
                    <a:pt x="8773" y="2777"/>
                  </a:cubicBezTo>
                  <a:cubicBezTo>
                    <a:pt x="7861" y="2777"/>
                    <a:pt x="7861" y="2777"/>
                    <a:pt x="7861" y="2777"/>
                  </a:cubicBezTo>
                  <a:cubicBezTo>
                    <a:pt x="7861" y="3594"/>
                    <a:pt x="7861" y="3594"/>
                    <a:pt x="7861" y="3594"/>
                  </a:cubicBezTo>
                  <a:cubicBezTo>
                    <a:pt x="8803" y="3594"/>
                    <a:pt x="8803" y="3594"/>
                    <a:pt x="8803" y="3594"/>
                  </a:cubicBezTo>
                  <a:cubicBezTo>
                    <a:pt x="9308" y="3594"/>
                    <a:pt x="9640" y="3493"/>
                    <a:pt x="9802" y="3291"/>
                  </a:cubicBezTo>
                  <a:cubicBezTo>
                    <a:pt x="9968" y="3090"/>
                    <a:pt x="10049" y="2838"/>
                    <a:pt x="10049" y="2535"/>
                  </a:cubicBezTo>
                  <a:cubicBezTo>
                    <a:pt x="10043" y="2288"/>
                    <a:pt x="9963" y="2092"/>
                    <a:pt x="9802" y="1935"/>
                  </a:cubicBezTo>
                  <a:cubicBezTo>
                    <a:pt x="9635" y="1774"/>
                    <a:pt x="9418" y="1603"/>
                    <a:pt x="9146" y="1421"/>
                  </a:cubicBezTo>
                  <a:cubicBezTo>
                    <a:pt x="8869" y="1230"/>
                    <a:pt x="8733" y="1099"/>
                    <a:pt x="8733" y="1023"/>
                  </a:cubicBezTo>
                  <a:cubicBezTo>
                    <a:pt x="8738" y="968"/>
                    <a:pt x="8753" y="932"/>
                    <a:pt x="8788" y="912"/>
                  </a:cubicBezTo>
                  <a:cubicBezTo>
                    <a:pt x="8829" y="887"/>
                    <a:pt x="8874" y="877"/>
                    <a:pt x="8934" y="877"/>
                  </a:cubicBezTo>
                  <a:cubicBezTo>
                    <a:pt x="9822" y="877"/>
                    <a:pt x="9822" y="877"/>
                    <a:pt x="9822" y="877"/>
                  </a:cubicBezTo>
                  <a:cubicBezTo>
                    <a:pt x="9822" y="60"/>
                    <a:pt x="9822" y="60"/>
                    <a:pt x="9822" y="60"/>
                  </a:cubicBezTo>
                  <a:lnTo>
                    <a:pt x="8904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40DEA04A-A7FD-4940-82D1-CD2C4D13DC36}"/>
              </a:ext>
            </a:extLst>
          </p:cNvPr>
          <p:cNvSpPr/>
          <p:nvPr userDrawn="1"/>
        </p:nvSpPr>
        <p:spPr>
          <a:xfrm>
            <a:off x="161986" y="320877"/>
            <a:ext cx="92262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3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495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B633CA7-23E2-48B9-AC6B-A30745FE4C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204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C6B4416-D99E-4BD6-A93E-99F292E5CFCF}"/>
              </a:ext>
            </a:extLst>
          </p:cNvPr>
          <p:cNvGrpSpPr/>
          <p:nvPr userDrawn="1"/>
        </p:nvGrpSpPr>
        <p:grpSpPr>
          <a:xfrm flipH="1" flipV="1">
            <a:off x="-1" y="3341578"/>
            <a:ext cx="4047457" cy="3516421"/>
            <a:chOff x="6122628" y="0"/>
            <a:chExt cx="5826485" cy="6096441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93E78FC-9189-4BBA-A351-C6011C9D2EE6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12000"/>
                      </a14:imgEffect>
                      <a14:imgEffect>
                        <a14:brightnessContrast bright="100000" contrast="-4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31" t="6708" b="25940"/>
            <a:stretch/>
          </p:blipFill>
          <p:spPr>
            <a:xfrm flipH="1" flipV="1">
              <a:off x="6122628" y="0"/>
              <a:ext cx="5826485" cy="6096441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0552E21-E0EC-4B61-82FA-41878B94CAD7}"/>
                </a:ext>
              </a:extLst>
            </p:cNvPr>
            <p:cNvSpPr>
              <a:spLocks/>
            </p:cNvSpPr>
            <p:nvPr userDrawn="1"/>
          </p:nvSpPr>
          <p:spPr>
            <a:xfrm>
              <a:off x="6122628" y="0"/>
              <a:ext cx="5826485" cy="6096441"/>
            </a:xfrm>
            <a:prstGeom prst="rect">
              <a:avLst/>
            </a:prstGeom>
            <a:solidFill>
              <a:srgbClr val="057835">
                <a:alpha val="84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L" sz="1837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7" y="466736"/>
            <a:ext cx="11725484" cy="314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CL" err="1"/>
              <a:t>Click</a:t>
            </a:r>
            <a:r>
              <a:rPr lang="es-CL"/>
              <a:t> </a:t>
            </a:r>
            <a:r>
              <a:rPr lang="es-CL" err="1"/>
              <a:t>to</a:t>
            </a:r>
            <a:r>
              <a:rPr lang="es-CL"/>
              <a:t> </a:t>
            </a:r>
            <a:r>
              <a:rPr lang="es-CL" err="1"/>
              <a:t>edit</a:t>
            </a:r>
            <a:r>
              <a:rPr lang="es-CL"/>
              <a:t> Master </a:t>
            </a:r>
            <a:r>
              <a:rPr lang="es-CL" err="1"/>
              <a:t>title</a:t>
            </a:r>
            <a:r>
              <a:rPr lang="es-CL"/>
              <a:t> </a:t>
            </a:r>
            <a:r>
              <a:rPr lang="es-CL" err="1"/>
              <a:t>style</a:t>
            </a:r>
            <a:endParaRPr lang="es-CL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CL" sz="612">
              <a:solidFill>
                <a:srgbClr val="808080"/>
              </a:solidFill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AE6062E0-F880-453B-9427-43432CE2A09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862395" y="6642112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CL" sz="816" smtClean="0">
                <a:solidFill>
                  <a:srgbClr val="FFFFFF"/>
                </a:solidFill>
              </a:rPr>
              <a:pPr algn="ctr"/>
              <a:t>‹Nº›</a:t>
            </a:fld>
            <a:endParaRPr lang="es-CL" sz="816">
              <a:solidFill>
                <a:srgbClr val="FFFFF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9ED9BBE-14DC-47CF-8535-B0E5BEA51D34}"/>
              </a:ext>
            </a:extLst>
          </p:cNvPr>
          <p:cNvCxnSpPr/>
          <p:nvPr userDrawn="1"/>
        </p:nvCxnSpPr>
        <p:spPr>
          <a:xfrm>
            <a:off x="11798897" y="6792822"/>
            <a:ext cx="31508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1D3918A-035A-4E36-A4E4-1C4143423436}"/>
              </a:ext>
            </a:extLst>
          </p:cNvPr>
          <p:cNvGrpSpPr/>
          <p:nvPr userDrawn="1"/>
        </p:nvGrpSpPr>
        <p:grpSpPr>
          <a:xfrm>
            <a:off x="11310083" y="6439458"/>
            <a:ext cx="420822" cy="418542"/>
            <a:chOff x="-8636776" y="2758539"/>
            <a:chExt cx="6757987" cy="6721475"/>
          </a:xfrm>
        </p:grpSpPr>
        <p:sp>
          <p:nvSpPr>
            <p:cNvPr id="13" name="AutoShape 461">
              <a:extLst>
                <a:ext uri="{FF2B5EF4-FFF2-40B4-BE49-F238E27FC236}">
                  <a16:creationId xmlns:a16="http://schemas.microsoft.com/office/drawing/2014/main" id="{B56AB38B-C243-4CC6-A803-B69CEEE96BB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14" name="Rectangle 463">
              <a:extLst>
                <a:ext uri="{FF2B5EF4-FFF2-40B4-BE49-F238E27FC236}">
                  <a16:creationId xmlns:a16="http://schemas.microsoft.com/office/drawing/2014/main" id="{62544C30-91A3-4B0B-BD52-A5A9E88AD5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solidFill>
              <a:schemeClr val="bg1"/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15" name="Freeform 464">
              <a:extLst>
                <a:ext uri="{FF2B5EF4-FFF2-40B4-BE49-F238E27FC236}">
                  <a16:creationId xmlns:a16="http://schemas.microsoft.com/office/drawing/2014/main" id="{B85B862A-2092-45EC-BFCC-27DC9642FE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065276" y="6873339"/>
              <a:ext cx="5680075" cy="2028825"/>
            </a:xfrm>
            <a:custGeom>
              <a:avLst/>
              <a:gdLst>
                <a:gd name="T0" fmla="*/ 1492 w 10049"/>
                <a:gd name="T1" fmla="*/ 917 h 3594"/>
                <a:gd name="T2" fmla="*/ 973 w 10049"/>
                <a:gd name="T3" fmla="*/ 912 h 3594"/>
                <a:gd name="T4" fmla="*/ 877 w 10049"/>
                <a:gd name="T5" fmla="*/ 2052 h 3594"/>
                <a:gd name="T6" fmla="*/ 1593 w 10049"/>
                <a:gd name="T7" fmla="*/ 1235 h 3594"/>
                <a:gd name="T8" fmla="*/ 0 w 10049"/>
                <a:gd name="T9" fmla="*/ 1275 h 3594"/>
                <a:gd name="T10" fmla="*/ 877 w 10049"/>
                <a:gd name="T11" fmla="*/ 3594 h 3594"/>
                <a:gd name="T12" fmla="*/ 1594 w 10049"/>
                <a:gd name="T13" fmla="*/ 2849 h 3594"/>
                <a:gd name="T14" fmla="*/ 2475 w 10049"/>
                <a:gd name="T15" fmla="*/ 3594 h 3594"/>
                <a:gd name="T16" fmla="*/ 2132 w 10049"/>
                <a:gd name="T17" fmla="*/ 352 h 3594"/>
                <a:gd name="T18" fmla="*/ 338 w 10049"/>
                <a:gd name="T19" fmla="*/ 352 h 3594"/>
                <a:gd name="T20" fmla="*/ 5168 w 10049"/>
                <a:gd name="T21" fmla="*/ 3592 h 3594"/>
                <a:gd name="T22" fmla="*/ 6038 w 10049"/>
                <a:gd name="T23" fmla="*/ 2254 h 3594"/>
                <a:gd name="T24" fmla="*/ 6733 w 10049"/>
                <a:gd name="T25" fmla="*/ 3594 h 3594"/>
                <a:gd name="T26" fmla="*/ 7616 w 10049"/>
                <a:gd name="T27" fmla="*/ 60 h 3594"/>
                <a:gd name="T28" fmla="*/ 6733 w 10049"/>
                <a:gd name="T29" fmla="*/ 1407 h 3594"/>
                <a:gd name="T30" fmla="*/ 6038 w 10049"/>
                <a:gd name="T31" fmla="*/ 60 h 3594"/>
                <a:gd name="T32" fmla="*/ 4882 w 10049"/>
                <a:gd name="T33" fmla="*/ 59 h 3594"/>
                <a:gd name="T34" fmla="*/ 3132 w 10049"/>
                <a:gd name="T35" fmla="*/ 574 h 3594"/>
                <a:gd name="T36" fmla="*/ 3132 w 10049"/>
                <a:gd name="T37" fmla="*/ 3080 h 3594"/>
                <a:gd name="T38" fmla="*/ 4895 w 10049"/>
                <a:gd name="T39" fmla="*/ 3587 h 3594"/>
                <a:gd name="T40" fmla="*/ 4462 w 10049"/>
                <a:gd name="T41" fmla="*/ 2746 h 3594"/>
                <a:gd name="T42" fmla="*/ 3585 w 10049"/>
                <a:gd name="T43" fmla="*/ 1829 h 3594"/>
                <a:gd name="T44" fmla="*/ 4462 w 10049"/>
                <a:gd name="T45" fmla="*/ 906 h 3594"/>
                <a:gd name="T46" fmla="*/ 4882 w 10049"/>
                <a:gd name="T47" fmla="*/ 59 h 3594"/>
                <a:gd name="T48" fmla="*/ 8138 w 10049"/>
                <a:gd name="T49" fmla="*/ 302 h 3594"/>
                <a:gd name="T50" fmla="*/ 8052 w 10049"/>
                <a:gd name="T51" fmla="*/ 1643 h 3594"/>
                <a:gd name="T52" fmla="*/ 9101 w 10049"/>
                <a:gd name="T53" fmla="*/ 2586 h 3594"/>
                <a:gd name="T54" fmla="*/ 7861 w 10049"/>
                <a:gd name="T55" fmla="*/ 2777 h 3594"/>
                <a:gd name="T56" fmla="*/ 8803 w 10049"/>
                <a:gd name="T57" fmla="*/ 3594 h 3594"/>
                <a:gd name="T58" fmla="*/ 10049 w 10049"/>
                <a:gd name="T59" fmla="*/ 2535 h 3594"/>
                <a:gd name="T60" fmla="*/ 9146 w 10049"/>
                <a:gd name="T61" fmla="*/ 1421 h 3594"/>
                <a:gd name="T62" fmla="*/ 8788 w 10049"/>
                <a:gd name="T63" fmla="*/ 912 h 3594"/>
                <a:gd name="T64" fmla="*/ 9822 w 10049"/>
                <a:gd name="T65" fmla="*/ 877 h 3594"/>
                <a:gd name="T66" fmla="*/ 8904 w 10049"/>
                <a:gd name="T67" fmla="*/ 60 h 3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49" h="3594">
                  <a:moveTo>
                    <a:pt x="1593" y="1235"/>
                  </a:moveTo>
                  <a:cubicBezTo>
                    <a:pt x="1593" y="1104"/>
                    <a:pt x="1563" y="998"/>
                    <a:pt x="1492" y="917"/>
                  </a:cubicBezTo>
                  <a:cubicBezTo>
                    <a:pt x="1432" y="836"/>
                    <a:pt x="1346" y="796"/>
                    <a:pt x="1235" y="796"/>
                  </a:cubicBezTo>
                  <a:cubicBezTo>
                    <a:pt x="1124" y="796"/>
                    <a:pt x="1039" y="831"/>
                    <a:pt x="973" y="912"/>
                  </a:cubicBezTo>
                  <a:cubicBezTo>
                    <a:pt x="913" y="988"/>
                    <a:pt x="882" y="1094"/>
                    <a:pt x="877" y="1235"/>
                  </a:cubicBezTo>
                  <a:cubicBezTo>
                    <a:pt x="877" y="2052"/>
                    <a:pt x="877" y="2052"/>
                    <a:pt x="877" y="2052"/>
                  </a:cubicBezTo>
                  <a:cubicBezTo>
                    <a:pt x="1601" y="2053"/>
                    <a:pt x="1601" y="2053"/>
                    <a:pt x="1601" y="2053"/>
                  </a:cubicBezTo>
                  <a:lnTo>
                    <a:pt x="1593" y="1235"/>
                  </a:lnTo>
                  <a:close/>
                  <a:moveTo>
                    <a:pt x="338" y="352"/>
                  </a:moveTo>
                  <a:cubicBezTo>
                    <a:pt x="111" y="584"/>
                    <a:pt x="0" y="892"/>
                    <a:pt x="0" y="1275"/>
                  </a:cubicBezTo>
                  <a:cubicBezTo>
                    <a:pt x="0" y="3594"/>
                    <a:pt x="0" y="3594"/>
                    <a:pt x="0" y="3594"/>
                  </a:cubicBezTo>
                  <a:cubicBezTo>
                    <a:pt x="877" y="3594"/>
                    <a:pt x="877" y="3594"/>
                    <a:pt x="877" y="3594"/>
                  </a:cubicBezTo>
                  <a:cubicBezTo>
                    <a:pt x="877" y="2849"/>
                    <a:pt x="877" y="2849"/>
                    <a:pt x="877" y="2849"/>
                  </a:cubicBezTo>
                  <a:cubicBezTo>
                    <a:pt x="1594" y="2849"/>
                    <a:pt x="1594" y="2849"/>
                    <a:pt x="1594" y="2849"/>
                  </a:cubicBezTo>
                  <a:cubicBezTo>
                    <a:pt x="1593" y="3594"/>
                    <a:pt x="1593" y="3594"/>
                    <a:pt x="1593" y="3594"/>
                  </a:cubicBezTo>
                  <a:cubicBezTo>
                    <a:pt x="2475" y="3594"/>
                    <a:pt x="2475" y="3594"/>
                    <a:pt x="2475" y="3594"/>
                  </a:cubicBezTo>
                  <a:cubicBezTo>
                    <a:pt x="2475" y="1275"/>
                    <a:pt x="2475" y="1275"/>
                    <a:pt x="2475" y="1275"/>
                  </a:cubicBezTo>
                  <a:cubicBezTo>
                    <a:pt x="2470" y="892"/>
                    <a:pt x="2359" y="584"/>
                    <a:pt x="2132" y="352"/>
                  </a:cubicBezTo>
                  <a:cubicBezTo>
                    <a:pt x="1900" y="116"/>
                    <a:pt x="1603" y="0"/>
                    <a:pt x="1233" y="2"/>
                  </a:cubicBezTo>
                  <a:cubicBezTo>
                    <a:pt x="862" y="5"/>
                    <a:pt x="565" y="121"/>
                    <a:pt x="338" y="352"/>
                  </a:cubicBezTo>
                  <a:close/>
                  <a:moveTo>
                    <a:pt x="5167" y="56"/>
                  </a:moveTo>
                  <a:cubicBezTo>
                    <a:pt x="5168" y="3592"/>
                    <a:pt x="5168" y="3592"/>
                    <a:pt x="5168" y="3592"/>
                  </a:cubicBezTo>
                  <a:cubicBezTo>
                    <a:pt x="6038" y="3594"/>
                    <a:pt x="6038" y="3594"/>
                    <a:pt x="6038" y="3594"/>
                  </a:cubicBezTo>
                  <a:cubicBezTo>
                    <a:pt x="6038" y="2254"/>
                    <a:pt x="6038" y="2254"/>
                    <a:pt x="6038" y="2254"/>
                  </a:cubicBezTo>
                  <a:cubicBezTo>
                    <a:pt x="6733" y="2254"/>
                    <a:pt x="6733" y="2254"/>
                    <a:pt x="6733" y="2254"/>
                  </a:cubicBezTo>
                  <a:cubicBezTo>
                    <a:pt x="6733" y="3594"/>
                    <a:pt x="6733" y="3594"/>
                    <a:pt x="6733" y="3594"/>
                  </a:cubicBezTo>
                  <a:cubicBezTo>
                    <a:pt x="7616" y="3594"/>
                    <a:pt x="7616" y="3594"/>
                    <a:pt x="7616" y="3594"/>
                  </a:cubicBezTo>
                  <a:cubicBezTo>
                    <a:pt x="7616" y="60"/>
                    <a:pt x="7616" y="60"/>
                    <a:pt x="7616" y="60"/>
                  </a:cubicBezTo>
                  <a:cubicBezTo>
                    <a:pt x="6733" y="60"/>
                    <a:pt x="6733" y="60"/>
                    <a:pt x="6733" y="60"/>
                  </a:cubicBezTo>
                  <a:cubicBezTo>
                    <a:pt x="6733" y="1407"/>
                    <a:pt x="6733" y="1407"/>
                    <a:pt x="6733" y="1407"/>
                  </a:cubicBezTo>
                  <a:cubicBezTo>
                    <a:pt x="6038" y="1407"/>
                    <a:pt x="6038" y="1407"/>
                    <a:pt x="6038" y="1407"/>
                  </a:cubicBezTo>
                  <a:cubicBezTo>
                    <a:pt x="6038" y="60"/>
                    <a:pt x="6038" y="60"/>
                    <a:pt x="6038" y="60"/>
                  </a:cubicBezTo>
                  <a:cubicBezTo>
                    <a:pt x="5167" y="56"/>
                    <a:pt x="5167" y="56"/>
                    <a:pt x="5167" y="56"/>
                  </a:cubicBezTo>
                  <a:close/>
                  <a:moveTo>
                    <a:pt x="4882" y="59"/>
                  </a:moveTo>
                  <a:cubicBezTo>
                    <a:pt x="4301" y="60"/>
                    <a:pt x="4301" y="60"/>
                    <a:pt x="4301" y="60"/>
                  </a:cubicBezTo>
                  <a:cubicBezTo>
                    <a:pt x="3827" y="60"/>
                    <a:pt x="3439" y="232"/>
                    <a:pt x="3132" y="574"/>
                  </a:cubicBezTo>
                  <a:cubicBezTo>
                    <a:pt x="2819" y="917"/>
                    <a:pt x="2668" y="1336"/>
                    <a:pt x="2668" y="1830"/>
                  </a:cubicBezTo>
                  <a:cubicBezTo>
                    <a:pt x="2673" y="2324"/>
                    <a:pt x="2824" y="2737"/>
                    <a:pt x="3132" y="3080"/>
                  </a:cubicBezTo>
                  <a:cubicBezTo>
                    <a:pt x="3449" y="3423"/>
                    <a:pt x="3837" y="3594"/>
                    <a:pt x="4301" y="3594"/>
                  </a:cubicBezTo>
                  <a:cubicBezTo>
                    <a:pt x="4895" y="3587"/>
                    <a:pt x="4895" y="3587"/>
                    <a:pt x="4895" y="3587"/>
                  </a:cubicBezTo>
                  <a:cubicBezTo>
                    <a:pt x="4890" y="2745"/>
                    <a:pt x="4890" y="2745"/>
                    <a:pt x="4890" y="2745"/>
                  </a:cubicBezTo>
                  <a:cubicBezTo>
                    <a:pt x="4462" y="2746"/>
                    <a:pt x="4462" y="2746"/>
                    <a:pt x="4462" y="2746"/>
                  </a:cubicBezTo>
                  <a:cubicBezTo>
                    <a:pt x="4200" y="2741"/>
                    <a:pt x="3988" y="2666"/>
                    <a:pt x="3827" y="2515"/>
                  </a:cubicBezTo>
                  <a:cubicBezTo>
                    <a:pt x="3666" y="2353"/>
                    <a:pt x="3585" y="2126"/>
                    <a:pt x="3585" y="1829"/>
                  </a:cubicBezTo>
                  <a:cubicBezTo>
                    <a:pt x="3585" y="1521"/>
                    <a:pt x="3666" y="1295"/>
                    <a:pt x="3827" y="1143"/>
                  </a:cubicBezTo>
                  <a:cubicBezTo>
                    <a:pt x="3988" y="982"/>
                    <a:pt x="4200" y="906"/>
                    <a:pt x="4462" y="906"/>
                  </a:cubicBezTo>
                  <a:cubicBezTo>
                    <a:pt x="4882" y="906"/>
                    <a:pt x="4882" y="906"/>
                    <a:pt x="4882" y="906"/>
                  </a:cubicBezTo>
                  <a:lnTo>
                    <a:pt x="4882" y="59"/>
                  </a:lnTo>
                  <a:close/>
                  <a:moveTo>
                    <a:pt x="8904" y="60"/>
                  </a:moveTo>
                  <a:cubicBezTo>
                    <a:pt x="8592" y="60"/>
                    <a:pt x="8340" y="141"/>
                    <a:pt x="8138" y="302"/>
                  </a:cubicBezTo>
                  <a:cubicBezTo>
                    <a:pt x="7936" y="463"/>
                    <a:pt x="7836" y="716"/>
                    <a:pt x="7836" y="1058"/>
                  </a:cubicBezTo>
                  <a:cubicBezTo>
                    <a:pt x="7841" y="1310"/>
                    <a:pt x="7911" y="1502"/>
                    <a:pt x="8052" y="1643"/>
                  </a:cubicBezTo>
                  <a:cubicBezTo>
                    <a:pt x="8204" y="1789"/>
                    <a:pt x="8410" y="1956"/>
                    <a:pt x="8682" y="2152"/>
                  </a:cubicBezTo>
                  <a:cubicBezTo>
                    <a:pt x="8965" y="2354"/>
                    <a:pt x="9101" y="2495"/>
                    <a:pt x="9101" y="2586"/>
                  </a:cubicBezTo>
                  <a:cubicBezTo>
                    <a:pt x="9096" y="2717"/>
                    <a:pt x="8990" y="2777"/>
                    <a:pt x="8773" y="2777"/>
                  </a:cubicBezTo>
                  <a:cubicBezTo>
                    <a:pt x="7861" y="2777"/>
                    <a:pt x="7861" y="2777"/>
                    <a:pt x="7861" y="2777"/>
                  </a:cubicBezTo>
                  <a:cubicBezTo>
                    <a:pt x="7861" y="3594"/>
                    <a:pt x="7861" y="3594"/>
                    <a:pt x="7861" y="3594"/>
                  </a:cubicBezTo>
                  <a:cubicBezTo>
                    <a:pt x="8803" y="3594"/>
                    <a:pt x="8803" y="3594"/>
                    <a:pt x="8803" y="3594"/>
                  </a:cubicBezTo>
                  <a:cubicBezTo>
                    <a:pt x="9308" y="3594"/>
                    <a:pt x="9640" y="3493"/>
                    <a:pt x="9802" y="3291"/>
                  </a:cubicBezTo>
                  <a:cubicBezTo>
                    <a:pt x="9968" y="3090"/>
                    <a:pt x="10049" y="2838"/>
                    <a:pt x="10049" y="2535"/>
                  </a:cubicBezTo>
                  <a:cubicBezTo>
                    <a:pt x="10043" y="2288"/>
                    <a:pt x="9963" y="2092"/>
                    <a:pt x="9802" y="1935"/>
                  </a:cubicBezTo>
                  <a:cubicBezTo>
                    <a:pt x="9635" y="1774"/>
                    <a:pt x="9418" y="1603"/>
                    <a:pt x="9146" y="1421"/>
                  </a:cubicBezTo>
                  <a:cubicBezTo>
                    <a:pt x="8869" y="1230"/>
                    <a:pt x="8733" y="1099"/>
                    <a:pt x="8733" y="1023"/>
                  </a:cubicBezTo>
                  <a:cubicBezTo>
                    <a:pt x="8738" y="968"/>
                    <a:pt x="8753" y="932"/>
                    <a:pt x="8788" y="912"/>
                  </a:cubicBezTo>
                  <a:cubicBezTo>
                    <a:pt x="8829" y="887"/>
                    <a:pt x="8874" y="877"/>
                    <a:pt x="8934" y="877"/>
                  </a:cubicBezTo>
                  <a:cubicBezTo>
                    <a:pt x="9822" y="877"/>
                    <a:pt x="9822" y="877"/>
                    <a:pt x="9822" y="877"/>
                  </a:cubicBezTo>
                  <a:cubicBezTo>
                    <a:pt x="9822" y="60"/>
                    <a:pt x="9822" y="60"/>
                    <a:pt x="9822" y="60"/>
                  </a:cubicBezTo>
                  <a:lnTo>
                    <a:pt x="8904" y="6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18958667-A9CB-4EC1-B5A6-34239066F378}"/>
              </a:ext>
            </a:extLst>
          </p:cNvPr>
          <p:cNvSpPr/>
          <p:nvPr userDrawn="1"/>
        </p:nvSpPr>
        <p:spPr>
          <a:xfrm>
            <a:off x="161986" y="320877"/>
            <a:ext cx="922620" cy="4664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3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96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B633CA7-23E2-48B9-AC6B-A30745FE4C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204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05B67BFE-4C8F-4D2D-A6AC-E001393FCF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082226" y="-839"/>
            <a:ext cx="3109774" cy="23565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888B56D1-8338-417A-B8EA-34A566108E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82225" y="4576131"/>
            <a:ext cx="2852335" cy="216337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DD49918-E968-43CE-82B9-AD96805E0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35392" y="135273"/>
            <a:ext cx="2852336" cy="283688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33C18D2-4F9D-4B1C-B217-3A2A92C53F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1977" y="3032140"/>
            <a:ext cx="5825751" cy="148400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98A5934-0922-4AB9-94A4-F3D57488AE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35393" y="4576132"/>
            <a:ext cx="2852335" cy="216337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BD7B9FA-0B4F-405F-A1B0-E03D48673A84}"/>
              </a:ext>
            </a:extLst>
          </p:cNvPr>
          <p:cNvSpPr/>
          <p:nvPr userDrawn="1"/>
        </p:nvSpPr>
        <p:spPr>
          <a:xfrm>
            <a:off x="6108810" y="135273"/>
            <a:ext cx="2852335" cy="2163377"/>
          </a:xfrm>
          <a:prstGeom prst="rect">
            <a:avLst/>
          </a:prstGeom>
          <a:solidFill>
            <a:srgbClr val="88C3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37">
              <a:solidFill>
                <a:srgbClr val="000000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80E16EC-7533-4AD1-BA0F-D4AC02987F85}"/>
              </a:ext>
            </a:extLst>
          </p:cNvPr>
          <p:cNvGrpSpPr>
            <a:grpSpLocks/>
          </p:cNvGrpSpPr>
          <p:nvPr userDrawn="1"/>
        </p:nvGrpSpPr>
        <p:grpSpPr>
          <a:xfrm>
            <a:off x="161977" y="135273"/>
            <a:ext cx="2852335" cy="2836882"/>
            <a:chOff x="4597434" y="3577867"/>
            <a:chExt cx="2748246" cy="2733398"/>
          </a:xfrm>
        </p:grpSpPr>
        <p:sp>
          <p:nvSpPr>
            <p:cNvPr id="18" name="Rectangle 463">
              <a:extLst>
                <a:ext uri="{FF2B5EF4-FFF2-40B4-BE49-F238E27FC236}">
                  <a16:creationId xmlns:a16="http://schemas.microsoft.com/office/drawing/2014/main" id="{1D07514A-56A8-421A-AB89-E6A159E0447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97434" y="3577867"/>
              <a:ext cx="2748246" cy="2733398"/>
            </a:xfrm>
            <a:prstGeom prst="rect">
              <a:avLst/>
            </a:prstGeom>
            <a:solidFill>
              <a:srgbClr val="057835"/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19" name="Freeform 464">
              <a:extLst>
                <a:ext uri="{FF2B5EF4-FFF2-40B4-BE49-F238E27FC236}">
                  <a16:creationId xmlns:a16="http://schemas.microsoft.com/office/drawing/2014/main" id="{A3BA9ACF-CB88-4F59-BE50-6DFEFBA405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29844" y="5251218"/>
              <a:ext cx="2309895" cy="825055"/>
            </a:xfrm>
            <a:custGeom>
              <a:avLst/>
              <a:gdLst>
                <a:gd name="T0" fmla="*/ 1492 w 10049"/>
                <a:gd name="T1" fmla="*/ 917 h 3594"/>
                <a:gd name="T2" fmla="*/ 973 w 10049"/>
                <a:gd name="T3" fmla="*/ 912 h 3594"/>
                <a:gd name="T4" fmla="*/ 877 w 10049"/>
                <a:gd name="T5" fmla="*/ 2052 h 3594"/>
                <a:gd name="T6" fmla="*/ 1593 w 10049"/>
                <a:gd name="T7" fmla="*/ 1235 h 3594"/>
                <a:gd name="T8" fmla="*/ 0 w 10049"/>
                <a:gd name="T9" fmla="*/ 1275 h 3594"/>
                <a:gd name="T10" fmla="*/ 877 w 10049"/>
                <a:gd name="T11" fmla="*/ 3594 h 3594"/>
                <a:gd name="T12" fmla="*/ 1594 w 10049"/>
                <a:gd name="T13" fmla="*/ 2849 h 3594"/>
                <a:gd name="T14" fmla="*/ 2475 w 10049"/>
                <a:gd name="T15" fmla="*/ 3594 h 3594"/>
                <a:gd name="T16" fmla="*/ 2132 w 10049"/>
                <a:gd name="T17" fmla="*/ 352 h 3594"/>
                <a:gd name="T18" fmla="*/ 338 w 10049"/>
                <a:gd name="T19" fmla="*/ 352 h 3594"/>
                <a:gd name="T20" fmla="*/ 5168 w 10049"/>
                <a:gd name="T21" fmla="*/ 3592 h 3594"/>
                <a:gd name="T22" fmla="*/ 6038 w 10049"/>
                <a:gd name="T23" fmla="*/ 2254 h 3594"/>
                <a:gd name="T24" fmla="*/ 6733 w 10049"/>
                <a:gd name="T25" fmla="*/ 3594 h 3594"/>
                <a:gd name="T26" fmla="*/ 7616 w 10049"/>
                <a:gd name="T27" fmla="*/ 60 h 3594"/>
                <a:gd name="T28" fmla="*/ 6733 w 10049"/>
                <a:gd name="T29" fmla="*/ 1407 h 3594"/>
                <a:gd name="T30" fmla="*/ 6038 w 10049"/>
                <a:gd name="T31" fmla="*/ 60 h 3594"/>
                <a:gd name="T32" fmla="*/ 4882 w 10049"/>
                <a:gd name="T33" fmla="*/ 59 h 3594"/>
                <a:gd name="T34" fmla="*/ 3132 w 10049"/>
                <a:gd name="T35" fmla="*/ 574 h 3594"/>
                <a:gd name="T36" fmla="*/ 3132 w 10049"/>
                <a:gd name="T37" fmla="*/ 3080 h 3594"/>
                <a:gd name="T38" fmla="*/ 4895 w 10049"/>
                <a:gd name="T39" fmla="*/ 3587 h 3594"/>
                <a:gd name="T40" fmla="*/ 4462 w 10049"/>
                <a:gd name="T41" fmla="*/ 2746 h 3594"/>
                <a:gd name="T42" fmla="*/ 3585 w 10049"/>
                <a:gd name="T43" fmla="*/ 1829 h 3594"/>
                <a:gd name="T44" fmla="*/ 4462 w 10049"/>
                <a:gd name="T45" fmla="*/ 906 h 3594"/>
                <a:gd name="T46" fmla="*/ 4882 w 10049"/>
                <a:gd name="T47" fmla="*/ 59 h 3594"/>
                <a:gd name="T48" fmla="*/ 8138 w 10049"/>
                <a:gd name="T49" fmla="*/ 302 h 3594"/>
                <a:gd name="T50" fmla="*/ 8052 w 10049"/>
                <a:gd name="T51" fmla="*/ 1643 h 3594"/>
                <a:gd name="T52" fmla="*/ 9101 w 10049"/>
                <a:gd name="T53" fmla="*/ 2586 h 3594"/>
                <a:gd name="T54" fmla="*/ 7861 w 10049"/>
                <a:gd name="T55" fmla="*/ 2777 h 3594"/>
                <a:gd name="T56" fmla="*/ 8803 w 10049"/>
                <a:gd name="T57" fmla="*/ 3594 h 3594"/>
                <a:gd name="T58" fmla="*/ 10049 w 10049"/>
                <a:gd name="T59" fmla="*/ 2535 h 3594"/>
                <a:gd name="T60" fmla="*/ 9146 w 10049"/>
                <a:gd name="T61" fmla="*/ 1421 h 3594"/>
                <a:gd name="T62" fmla="*/ 8788 w 10049"/>
                <a:gd name="T63" fmla="*/ 912 h 3594"/>
                <a:gd name="T64" fmla="*/ 9822 w 10049"/>
                <a:gd name="T65" fmla="*/ 877 h 3594"/>
                <a:gd name="T66" fmla="*/ 8904 w 10049"/>
                <a:gd name="T67" fmla="*/ 60 h 3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49" h="3594">
                  <a:moveTo>
                    <a:pt x="1593" y="1235"/>
                  </a:moveTo>
                  <a:cubicBezTo>
                    <a:pt x="1593" y="1104"/>
                    <a:pt x="1563" y="998"/>
                    <a:pt x="1492" y="917"/>
                  </a:cubicBezTo>
                  <a:cubicBezTo>
                    <a:pt x="1432" y="836"/>
                    <a:pt x="1346" y="796"/>
                    <a:pt x="1235" y="796"/>
                  </a:cubicBezTo>
                  <a:cubicBezTo>
                    <a:pt x="1124" y="796"/>
                    <a:pt x="1039" y="831"/>
                    <a:pt x="973" y="912"/>
                  </a:cubicBezTo>
                  <a:cubicBezTo>
                    <a:pt x="913" y="988"/>
                    <a:pt x="882" y="1094"/>
                    <a:pt x="877" y="1235"/>
                  </a:cubicBezTo>
                  <a:cubicBezTo>
                    <a:pt x="877" y="2052"/>
                    <a:pt x="877" y="2052"/>
                    <a:pt x="877" y="2052"/>
                  </a:cubicBezTo>
                  <a:cubicBezTo>
                    <a:pt x="1601" y="2053"/>
                    <a:pt x="1601" y="2053"/>
                    <a:pt x="1601" y="2053"/>
                  </a:cubicBezTo>
                  <a:lnTo>
                    <a:pt x="1593" y="1235"/>
                  </a:lnTo>
                  <a:close/>
                  <a:moveTo>
                    <a:pt x="338" y="352"/>
                  </a:moveTo>
                  <a:cubicBezTo>
                    <a:pt x="111" y="584"/>
                    <a:pt x="0" y="892"/>
                    <a:pt x="0" y="1275"/>
                  </a:cubicBezTo>
                  <a:cubicBezTo>
                    <a:pt x="0" y="3594"/>
                    <a:pt x="0" y="3594"/>
                    <a:pt x="0" y="3594"/>
                  </a:cubicBezTo>
                  <a:cubicBezTo>
                    <a:pt x="877" y="3594"/>
                    <a:pt x="877" y="3594"/>
                    <a:pt x="877" y="3594"/>
                  </a:cubicBezTo>
                  <a:cubicBezTo>
                    <a:pt x="877" y="2849"/>
                    <a:pt x="877" y="2849"/>
                    <a:pt x="877" y="2849"/>
                  </a:cubicBezTo>
                  <a:cubicBezTo>
                    <a:pt x="1594" y="2849"/>
                    <a:pt x="1594" y="2849"/>
                    <a:pt x="1594" y="2849"/>
                  </a:cubicBezTo>
                  <a:cubicBezTo>
                    <a:pt x="1593" y="3594"/>
                    <a:pt x="1593" y="3594"/>
                    <a:pt x="1593" y="3594"/>
                  </a:cubicBezTo>
                  <a:cubicBezTo>
                    <a:pt x="2475" y="3594"/>
                    <a:pt x="2475" y="3594"/>
                    <a:pt x="2475" y="3594"/>
                  </a:cubicBezTo>
                  <a:cubicBezTo>
                    <a:pt x="2475" y="1275"/>
                    <a:pt x="2475" y="1275"/>
                    <a:pt x="2475" y="1275"/>
                  </a:cubicBezTo>
                  <a:cubicBezTo>
                    <a:pt x="2470" y="892"/>
                    <a:pt x="2359" y="584"/>
                    <a:pt x="2132" y="352"/>
                  </a:cubicBezTo>
                  <a:cubicBezTo>
                    <a:pt x="1900" y="116"/>
                    <a:pt x="1603" y="0"/>
                    <a:pt x="1233" y="2"/>
                  </a:cubicBezTo>
                  <a:cubicBezTo>
                    <a:pt x="862" y="5"/>
                    <a:pt x="565" y="121"/>
                    <a:pt x="338" y="352"/>
                  </a:cubicBezTo>
                  <a:close/>
                  <a:moveTo>
                    <a:pt x="5167" y="56"/>
                  </a:moveTo>
                  <a:cubicBezTo>
                    <a:pt x="5168" y="3592"/>
                    <a:pt x="5168" y="3592"/>
                    <a:pt x="5168" y="3592"/>
                  </a:cubicBezTo>
                  <a:cubicBezTo>
                    <a:pt x="6038" y="3594"/>
                    <a:pt x="6038" y="3594"/>
                    <a:pt x="6038" y="3594"/>
                  </a:cubicBezTo>
                  <a:cubicBezTo>
                    <a:pt x="6038" y="2254"/>
                    <a:pt x="6038" y="2254"/>
                    <a:pt x="6038" y="2254"/>
                  </a:cubicBezTo>
                  <a:cubicBezTo>
                    <a:pt x="6733" y="2254"/>
                    <a:pt x="6733" y="2254"/>
                    <a:pt x="6733" y="2254"/>
                  </a:cubicBezTo>
                  <a:cubicBezTo>
                    <a:pt x="6733" y="3594"/>
                    <a:pt x="6733" y="3594"/>
                    <a:pt x="6733" y="3594"/>
                  </a:cubicBezTo>
                  <a:cubicBezTo>
                    <a:pt x="7616" y="3594"/>
                    <a:pt x="7616" y="3594"/>
                    <a:pt x="7616" y="3594"/>
                  </a:cubicBezTo>
                  <a:cubicBezTo>
                    <a:pt x="7616" y="60"/>
                    <a:pt x="7616" y="60"/>
                    <a:pt x="7616" y="60"/>
                  </a:cubicBezTo>
                  <a:cubicBezTo>
                    <a:pt x="6733" y="60"/>
                    <a:pt x="6733" y="60"/>
                    <a:pt x="6733" y="60"/>
                  </a:cubicBezTo>
                  <a:cubicBezTo>
                    <a:pt x="6733" y="1407"/>
                    <a:pt x="6733" y="1407"/>
                    <a:pt x="6733" y="1407"/>
                  </a:cubicBezTo>
                  <a:cubicBezTo>
                    <a:pt x="6038" y="1407"/>
                    <a:pt x="6038" y="1407"/>
                    <a:pt x="6038" y="1407"/>
                  </a:cubicBezTo>
                  <a:cubicBezTo>
                    <a:pt x="6038" y="60"/>
                    <a:pt x="6038" y="60"/>
                    <a:pt x="6038" y="60"/>
                  </a:cubicBezTo>
                  <a:cubicBezTo>
                    <a:pt x="5167" y="56"/>
                    <a:pt x="5167" y="56"/>
                    <a:pt x="5167" y="56"/>
                  </a:cubicBezTo>
                  <a:close/>
                  <a:moveTo>
                    <a:pt x="4882" y="59"/>
                  </a:moveTo>
                  <a:cubicBezTo>
                    <a:pt x="4301" y="60"/>
                    <a:pt x="4301" y="60"/>
                    <a:pt x="4301" y="60"/>
                  </a:cubicBezTo>
                  <a:cubicBezTo>
                    <a:pt x="3827" y="60"/>
                    <a:pt x="3439" y="232"/>
                    <a:pt x="3132" y="574"/>
                  </a:cubicBezTo>
                  <a:cubicBezTo>
                    <a:pt x="2819" y="917"/>
                    <a:pt x="2668" y="1336"/>
                    <a:pt x="2668" y="1830"/>
                  </a:cubicBezTo>
                  <a:cubicBezTo>
                    <a:pt x="2673" y="2324"/>
                    <a:pt x="2824" y="2737"/>
                    <a:pt x="3132" y="3080"/>
                  </a:cubicBezTo>
                  <a:cubicBezTo>
                    <a:pt x="3449" y="3423"/>
                    <a:pt x="3837" y="3594"/>
                    <a:pt x="4301" y="3594"/>
                  </a:cubicBezTo>
                  <a:cubicBezTo>
                    <a:pt x="4895" y="3587"/>
                    <a:pt x="4895" y="3587"/>
                    <a:pt x="4895" y="3587"/>
                  </a:cubicBezTo>
                  <a:cubicBezTo>
                    <a:pt x="4890" y="2745"/>
                    <a:pt x="4890" y="2745"/>
                    <a:pt x="4890" y="2745"/>
                  </a:cubicBezTo>
                  <a:cubicBezTo>
                    <a:pt x="4462" y="2746"/>
                    <a:pt x="4462" y="2746"/>
                    <a:pt x="4462" y="2746"/>
                  </a:cubicBezTo>
                  <a:cubicBezTo>
                    <a:pt x="4200" y="2741"/>
                    <a:pt x="3988" y="2666"/>
                    <a:pt x="3827" y="2515"/>
                  </a:cubicBezTo>
                  <a:cubicBezTo>
                    <a:pt x="3666" y="2353"/>
                    <a:pt x="3585" y="2126"/>
                    <a:pt x="3585" y="1829"/>
                  </a:cubicBezTo>
                  <a:cubicBezTo>
                    <a:pt x="3585" y="1521"/>
                    <a:pt x="3666" y="1295"/>
                    <a:pt x="3827" y="1143"/>
                  </a:cubicBezTo>
                  <a:cubicBezTo>
                    <a:pt x="3988" y="982"/>
                    <a:pt x="4200" y="906"/>
                    <a:pt x="4462" y="906"/>
                  </a:cubicBezTo>
                  <a:cubicBezTo>
                    <a:pt x="4882" y="906"/>
                    <a:pt x="4882" y="906"/>
                    <a:pt x="4882" y="906"/>
                  </a:cubicBezTo>
                  <a:lnTo>
                    <a:pt x="4882" y="59"/>
                  </a:lnTo>
                  <a:close/>
                  <a:moveTo>
                    <a:pt x="8904" y="60"/>
                  </a:moveTo>
                  <a:cubicBezTo>
                    <a:pt x="8592" y="60"/>
                    <a:pt x="8340" y="141"/>
                    <a:pt x="8138" y="302"/>
                  </a:cubicBezTo>
                  <a:cubicBezTo>
                    <a:pt x="7936" y="463"/>
                    <a:pt x="7836" y="716"/>
                    <a:pt x="7836" y="1058"/>
                  </a:cubicBezTo>
                  <a:cubicBezTo>
                    <a:pt x="7841" y="1310"/>
                    <a:pt x="7911" y="1502"/>
                    <a:pt x="8052" y="1643"/>
                  </a:cubicBezTo>
                  <a:cubicBezTo>
                    <a:pt x="8204" y="1789"/>
                    <a:pt x="8410" y="1956"/>
                    <a:pt x="8682" y="2152"/>
                  </a:cubicBezTo>
                  <a:cubicBezTo>
                    <a:pt x="8965" y="2354"/>
                    <a:pt x="9101" y="2495"/>
                    <a:pt x="9101" y="2586"/>
                  </a:cubicBezTo>
                  <a:cubicBezTo>
                    <a:pt x="9096" y="2717"/>
                    <a:pt x="8990" y="2777"/>
                    <a:pt x="8773" y="2777"/>
                  </a:cubicBezTo>
                  <a:cubicBezTo>
                    <a:pt x="7861" y="2777"/>
                    <a:pt x="7861" y="2777"/>
                    <a:pt x="7861" y="2777"/>
                  </a:cubicBezTo>
                  <a:cubicBezTo>
                    <a:pt x="7861" y="3594"/>
                    <a:pt x="7861" y="3594"/>
                    <a:pt x="7861" y="3594"/>
                  </a:cubicBezTo>
                  <a:cubicBezTo>
                    <a:pt x="8803" y="3594"/>
                    <a:pt x="8803" y="3594"/>
                    <a:pt x="8803" y="3594"/>
                  </a:cubicBezTo>
                  <a:cubicBezTo>
                    <a:pt x="9308" y="3594"/>
                    <a:pt x="9640" y="3493"/>
                    <a:pt x="9802" y="3291"/>
                  </a:cubicBezTo>
                  <a:cubicBezTo>
                    <a:pt x="9968" y="3090"/>
                    <a:pt x="10049" y="2838"/>
                    <a:pt x="10049" y="2535"/>
                  </a:cubicBezTo>
                  <a:cubicBezTo>
                    <a:pt x="10043" y="2288"/>
                    <a:pt x="9963" y="2092"/>
                    <a:pt x="9802" y="1935"/>
                  </a:cubicBezTo>
                  <a:cubicBezTo>
                    <a:pt x="9635" y="1774"/>
                    <a:pt x="9418" y="1603"/>
                    <a:pt x="9146" y="1421"/>
                  </a:cubicBezTo>
                  <a:cubicBezTo>
                    <a:pt x="8869" y="1230"/>
                    <a:pt x="8733" y="1099"/>
                    <a:pt x="8733" y="1023"/>
                  </a:cubicBezTo>
                  <a:cubicBezTo>
                    <a:pt x="8738" y="968"/>
                    <a:pt x="8753" y="932"/>
                    <a:pt x="8788" y="912"/>
                  </a:cubicBezTo>
                  <a:cubicBezTo>
                    <a:pt x="8829" y="887"/>
                    <a:pt x="8874" y="877"/>
                    <a:pt x="8934" y="877"/>
                  </a:cubicBezTo>
                  <a:cubicBezTo>
                    <a:pt x="9822" y="877"/>
                    <a:pt x="9822" y="877"/>
                    <a:pt x="9822" y="877"/>
                  </a:cubicBezTo>
                  <a:cubicBezTo>
                    <a:pt x="9822" y="60"/>
                    <a:pt x="9822" y="60"/>
                    <a:pt x="9822" y="60"/>
                  </a:cubicBezTo>
                  <a:lnTo>
                    <a:pt x="8904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D3A705E5-227D-4B45-BE13-70D1D9AAEBC4}"/>
              </a:ext>
            </a:extLst>
          </p:cNvPr>
          <p:cNvSpPr/>
          <p:nvPr userDrawn="1"/>
        </p:nvSpPr>
        <p:spPr>
          <a:xfrm>
            <a:off x="6108810" y="2355702"/>
            <a:ext cx="2852335" cy="2163377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37">
              <a:solidFill>
                <a:srgbClr val="000000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D3562C9-61DC-46B0-BE5E-AAE1B0EE8E36}"/>
              </a:ext>
            </a:extLst>
          </p:cNvPr>
          <p:cNvSpPr/>
          <p:nvPr userDrawn="1"/>
        </p:nvSpPr>
        <p:spPr>
          <a:xfrm>
            <a:off x="9082226" y="2355702"/>
            <a:ext cx="2852335" cy="216337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37">
              <a:solidFill>
                <a:srgbClr val="0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BAF2802-9497-4FFA-97F7-1DE7BAC25730}"/>
              </a:ext>
            </a:extLst>
          </p:cNvPr>
          <p:cNvSpPr>
            <a:spLocks/>
          </p:cNvSpPr>
          <p:nvPr userDrawn="1"/>
        </p:nvSpPr>
        <p:spPr>
          <a:xfrm>
            <a:off x="6108810" y="4576131"/>
            <a:ext cx="2852335" cy="216337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CL" sz="1837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8F75A6F-3281-432B-9348-9C32FE5BAE76}"/>
              </a:ext>
            </a:extLst>
          </p:cNvPr>
          <p:cNvSpPr>
            <a:spLocks/>
          </p:cNvSpPr>
          <p:nvPr userDrawn="1"/>
        </p:nvSpPr>
        <p:spPr>
          <a:xfrm>
            <a:off x="161978" y="4576130"/>
            <a:ext cx="2852335" cy="2163377"/>
          </a:xfrm>
          <a:prstGeom prst="rect">
            <a:avLst/>
          </a:prstGeom>
          <a:solidFill>
            <a:srgbClr val="05783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CL" sz="1837">
              <a:solidFill>
                <a:srgbClr val="000000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CL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56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B633CA7-23E2-48B9-AC6B-A30745FE4C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204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80E16EC-7533-4AD1-BA0F-D4AC02987F85}"/>
              </a:ext>
            </a:extLst>
          </p:cNvPr>
          <p:cNvGrpSpPr>
            <a:grpSpLocks/>
          </p:cNvGrpSpPr>
          <p:nvPr userDrawn="1"/>
        </p:nvGrpSpPr>
        <p:grpSpPr>
          <a:xfrm>
            <a:off x="4669833" y="3301172"/>
            <a:ext cx="2852335" cy="2836882"/>
            <a:chOff x="4597434" y="3577867"/>
            <a:chExt cx="2748246" cy="2733398"/>
          </a:xfrm>
        </p:grpSpPr>
        <p:sp>
          <p:nvSpPr>
            <p:cNvPr id="18" name="Rectangle 463">
              <a:extLst>
                <a:ext uri="{FF2B5EF4-FFF2-40B4-BE49-F238E27FC236}">
                  <a16:creationId xmlns:a16="http://schemas.microsoft.com/office/drawing/2014/main" id="{1D07514A-56A8-421A-AB89-E6A159E0447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97434" y="3577867"/>
              <a:ext cx="2748246" cy="2733398"/>
            </a:xfrm>
            <a:prstGeom prst="rect">
              <a:avLst/>
            </a:prstGeom>
            <a:noFill/>
            <a:ln w="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19" name="Freeform 464">
              <a:extLst>
                <a:ext uri="{FF2B5EF4-FFF2-40B4-BE49-F238E27FC236}">
                  <a16:creationId xmlns:a16="http://schemas.microsoft.com/office/drawing/2014/main" id="{A3BA9ACF-CB88-4F59-BE50-6DFEFBA405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29844" y="5251218"/>
              <a:ext cx="2309895" cy="825055"/>
            </a:xfrm>
            <a:custGeom>
              <a:avLst/>
              <a:gdLst>
                <a:gd name="T0" fmla="*/ 1492 w 10049"/>
                <a:gd name="T1" fmla="*/ 917 h 3594"/>
                <a:gd name="T2" fmla="*/ 973 w 10049"/>
                <a:gd name="T3" fmla="*/ 912 h 3594"/>
                <a:gd name="T4" fmla="*/ 877 w 10049"/>
                <a:gd name="T5" fmla="*/ 2052 h 3594"/>
                <a:gd name="T6" fmla="*/ 1593 w 10049"/>
                <a:gd name="T7" fmla="*/ 1235 h 3594"/>
                <a:gd name="T8" fmla="*/ 0 w 10049"/>
                <a:gd name="T9" fmla="*/ 1275 h 3594"/>
                <a:gd name="T10" fmla="*/ 877 w 10049"/>
                <a:gd name="T11" fmla="*/ 3594 h 3594"/>
                <a:gd name="T12" fmla="*/ 1594 w 10049"/>
                <a:gd name="T13" fmla="*/ 2849 h 3594"/>
                <a:gd name="T14" fmla="*/ 2475 w 10049"/>
                <a:gd name="T15" fmla="*/ 3594 h 3594"/>
                <a:gd name="T16" fmla="*/ 2132 w 10049"/>
                <a:gd name="T17" fmla="*/ 352 h 3594"/>
                <a:gd name="T18" fmla="*/ 338 w 10049"/>
                <a:gd name="T19" fmla="*/ 352 h 3594"/>
                <a:gd name="T20" fmla="*/ 5168 w 10049"/>
                <a:gd name="T21" fmla="*/ 3592 h 3594"/>
                <a:gd name="T22" fmla="*/ 6038 w 10049"/>
                <a:gd name="T23" fmla="*/ 2254 h 3594"/>
                <a:gd name="T24" fmla="*/ 6733 w 10049"/>
                <a:gd name="T25" fmla="*/ 3594 h 3594"/>
                <a:gd name="T26" fmla="*/ 7616 w 10049"/>
                <a:gd name="T27" fmla="*/ 60 h 3594"/>
                <a:gd name="T28" fmla="*/ 6733 w 10049"/>
                <a:gd name="T29" fmla="*/ 1407 h 3594"/>
                <a:gd name="T30" fmla="*/ 6038 w 10049"/>
                <a:gd name="T31" fmla="*/ 60 h 3594"/>
                <a:gd name="T32" fmla="*/ 4882 w 10049"/>
                <a:gd name="T33" fmla="*/ 59 h 3594"/>
                <a:gd name="T34" fmla="*/ 3132 w 10049"/>
                <a:gd name="T35" fmla="*/ 574 h 3594"/>
                <a:gd name="T36" fmla="*/ 3132 w 10049"/>
                <a:gd name="T37" fmla="*/ 3080 h 3594"/>
                <a:gd name="T38" fmla="*/ 4895 w 10049"/>
                <a:gd name="T39" fmla="*/ 3587 h 3594"/>
                <a:gd name="T40" fmla="*/ 4462 w 10049"/>
                <a:gd name="T41" fmla="*/ 2746 h 3594"/>
                <a:gd name="T42" fmla="*/ 3585 w 10049"/>
                <a:gd name="T43" fmla="*/ 1829 h 3594"/>
                <a:gd name="T44" fmla="*/ 4462 w 10049"/>
                <a:gd name="T45" fmla="*/ 906 h 3594"/>
                <a:gd name="T46" fmla="*/ 4882 w 10049"/>
                <a:gd name="T47" fmla="*/ 59 h 3594"/>
                <a:gd name="T48" fmla="*/ 8138 w 10049"/>
                <a:gd name="T49" fmla="*/ 302 h 3594"/>
                <a:gd name="T50" fmla="*/ 8052 w 10049"/>
                <a:gd name="T51" fmla="*/ 1643 h 3594"/>
                <a:gd name="T52" fmla="*/ 9101 w 10049"/>
                <a:gd name="T53" fmla="*/ 2586 h 3594"/>
                <a:gd name="T54" fmla="*/ 7861 w 10049"/>
                <a:gd name="T55" fmla="*/ 2777 h 3594"/>
                <a:gd name="T56" fmla="*/ 8803 w 10049"/>
                <a:gd name="T57" fmla="*/ 3594 h 3594"/>
                <a:gd name="T58" fmla="*/ 10049 w 10049"/>
                <a:gd name="T59" fmla="*/ 2535 h 3594"/>
                <a:gd name="T60" fmla="*/ 9146 w 10049"/>
                <a:gd name="T61" fmla="*/ 1421 h 3594"/>
                <a:gd name="T62" fmla="*/ 8788 w 10049"/>
                <a:gd name="T63" fmla="*/ 912 h 3594"/>
                <a:gd name="T64" fmla="*/ 9822 w 10049"/>
                <a:gd name="T65" fmla="*/ 877 h 3594"/>
                <a:gd name="T66" fmla="*/ 8904 w 10049"/>
                <a:gd name="T67" fmla="*/ 60 h 3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49" h="3594">
                  <a:moveTo>
                    <a:pt x="1593" y="1235"/>
                  </a:moveTo>
                  <a:cubicBezTo>
                    <a:pt x="1593" y="1104"/>
                    <a:pt x="1563" y="998"/>
                    <a:pt x="1492" y="917"/>
                  </a:cubicBezTo>
                  <a:cubicBezTo>
                    <a:pt x="1432" y="836"/>
                    <a:pt x="1346" y="796"/>
                    <a:pt x="1235" y="796"/>
                  </a:cubicBezTo>
                  <a:cubicBezTo>
                    <a:pt x="1124" y="796"/>
                    <a:pt x="1039" y="831"/>
                    <a:pt x="973" y="912"/>
                  </a:cubicBezTo>
                  <a:cubicBezTo>
                    <a:pt x="913" y="988"/>
                    <a:pt x="882" y="1094"/>
                    <a:pt x="877" y="1235"/>
                  </a:cubicBezTo>
                  <a:cubicBezTo>
                    <a:pt x="877" y="2052"/>
                    <a:pt x="877" y="2052"/>
                    <a:pt x="877" y="2052"/>
                  </a:cubicBezTo>
                  <a:cubicBezTo>
                    <a:pt x="1601" y="2053"/>
                    <a:pt x="1601" y="2053"/>
                    <a:pt x="1601" y="2053"/>
                  </a:cubicBezTo>
                  <a:lnTo>
                    <a:pt x="1593" y="1235"/>
                  </a:lnTo>
                  <a:close/>
                  <a:moveTo>
                    <a:pt x="338" y="352"/>
                  </a:moveTo>
                  <a:cubicBezTo>
                    <a:pt x="111" y="584"/>
                    <a:pt x="0" y="892"/>
                    <a:pt x="0" y="1275"/>
                  </a:cubicBezTo>
                  <a:cubicBezTo>
                    <a:pt x="0" y="3594"/>
                    <a:pt x="0" y="3594"/>
                    <a:pt x="0" y="3594"/>
                  </a:cubicBezTo>
                  <a:cubicBezTo>
                    <a:pt x="877" y="3594"/>
                    <a:pt x="877" y="3594"/>
                    <a:pt x="877" y="3594"/>
                  </a:cubicBezTo>
                  <a:cubicBezTo>
                    <a:pt x="877" y="2849"/>
                    <a:pt x="877" y="2849"/>
                    <a:pt x="877" y="2849"/>
                  </a:cubicBezTo>
                  <a:cubicBezTo>
                    <a:pt x="1594" y="2849"/>
                    <a:pt x="1594" y="2849"/>
                    <a:pt x="1594" y="2849"/>
                  </a:cubicBezTo>
                  <a:cubicBezTo>
                    <a:pt x="1593" y="3594"/>
                    <a:pt x="1593" y="3594"/>
                    <a:pt x="1593" y="3594"/>
                  </a:cubicBezTo>
                  <a:cubicBezTo>
                    <a:pt x="2475" y="3594"/>
                    <a:pt x="2475" y="3594"/>
                    <a:pt x="2475" y="3594"/>
                  </a:cubicBezTo>
                  <a:cubicBezTo>
                    <a:pt x="2475" y="1275"/>
                    <a:pt x="2475" y="1275"/>
                    <a:pt x="2475" y="1275"/>
                  </a:cubicBezTo>
                  <a:cubicBezTo>
                    <a:pt x="2470" y="892"/>
                    <a:pt x="2359" y="584"/>
                    <a:pt x="2132" y="352"/>
                  </a:cubicBezTo>
                  <a:cubicBezTo>
                    <a:pt x="1900" y="116"/>
                    <a:pt x="1603" y="0"/>
                    <a:pt x="1233" y="2"/>
                  </a:cubicBezTo>
                  <a:cubicBezTo>
                    <a:pt x="862" y="5"/>
                    <a:pt x="565" y="121"/>
                    <a:pt x="338" y="352"/>
                  </a:cubicBezTo>
                  <a:close/>
                  <a:moveTo>
                    <a:pt x="5167" y="56"/>
                  </a:moveTo>
                  <a:cubicBezTo>
                    <a:pt x="5168" y="3592"/>
                    <a:pt x="5168" y="3592"/>
                    <a:pt x="5168" y="3592"/>
                  </a:cubicBezTo>
                  <a:cubicBezTo>
                    <a:pt x="6038" y="3594"/>
                    <a:pt x="6038" y="3594"/>
                    <a:pt x="6038" y="3594"/>
                  </a:cubicBezTo>
                  <a:cubicBezTo>
                    <a:pt x="6038" y="2254"/>
                    <a:pt x="6038" y="2254"/>
                    <a:pt x="6038" y="2254"/>
                  </a:cubicBezTo>
                  <a:cubicBezTo>
                    <a:pt x="6733" y="2254"/>
                    <a:pt x="6733" y="2254"/>
                    <a:pt x="6733" y="2254"/>
                  </a:cubicBezTo>
                  <a:cubicBezTo>
                    <a:pt x="6733" y="3594"/>
                    <a:pt x="6733" y="3594"/>
                    <a:pt x="6733" y="3594"/>
                  </a:cubicBezTo>
                  <a:cubicBezTo>
                    <a:pt x="7616" y="3594"/>
                    <a:pt x="7616" y="3594"/>
                    <a:pt x="7616" y="3594"/>
                  </a:cubicBezTo>
                  <a:cubicBezTo>
                    <a:pt x="7616" y="60"/>
                    <a:pt x="7616" y="60"/>
                    <a:pt x="7616" y="60"/>
                  </a:cubicBezTo>
                  <a:cubicBezTo>
                    <a:pt x="6733" y="60"/>
                    <a:pt x="6733" y="60"/>
                    <a:pt x="6733" y="60"/>
                  </a:cubicBezTo>
                  <a:cubicBezTo>
                    <a:pt x="6733" y="1407"/>
                    <a:pt x="6733" y="1407"/>
                    <a:pt x="6733" y="1407"/>
                  </a:cubicBezTo>
                  <a:cubicBezTo>
                    <a:pt x="6038" y="1407"/>
                    <a:pt x="6038" y="1407"/>
                    <a:pt x="6038" y="1407"/>
                  </a:cubicBezTo>
                  <a:cubicBezTo>
                    <a:pt x="6038" y="60"/>
                    <a:pt x="6038" y="60"/>
                    <a:pt x="6038" y="60"/>
                  </a:cubicBezTo>
                  <a:cubicBezTo>
                    <a:pt x="5167" y="56"/>
                    <a:pt x="5167" y="56"/>
                    <a:pt x="5167" y="56"/>
                  </a:cubicBezTo>
                  <a:close/>
                  <a:moveTo>
                    <a:pt x="4882" y="59"/>
                  </a:moveTo>
                  <a:cubicBezTo>
                    <a:pt x="4301" y="60"/>
                    <a:pt x="4301" y="60"/>
                    <a:pt x="4301" y="60"/>
                  </a:cubicBezTo>
                  <a:cubicBezTo>
                    <a:pt x="3827" y="60"/>
                    <a:pt x="3439" y="232"/>
                    <a:pt x="3132" y="574"/>
                  </a:cubicBezTo>
                  <a:cubicBezTo>
                    <a:pt x="2819" y="917"/>
                    <a:pt x="2668" y="1336"/>
                    <a:pt x="2668" y="1830"/>
                  </a:cubicBezTo>
                  <a:cubicBezTo>
                    <a:pt x="2673" y="2324"/>
                    <a:pt x="2824" y="2737"/>
                    <a:pt x="3132" y="3080"/>
                  </a:cubicBezTo>
                  <a:cubicBezTo>
                    <a:pt x="3449" y="3423"/>
                    <a:pt x="3837" y="3594"/>
                    <a:pt x="4301" y="3594"/>
                  </a:cubicBezTo>
                  <a:cubicBezTo>
                    <a:pt x="4895" y="3587"/>
                    <a:pt x="4895" y="3587"/>
                    <a:pt x="4895" y="3587"/>
                  </a:cubicBezTo>
                  <a:cubicBezTo>
                    <a:pt x="4890" y="2745"/>
                    <a:pt x="4890" y="2745"/>
                    <a:pt x="4890" y="2745"/>
                  </a:cubicBezTo>
                  <a:cubicBezTo>
                    <a:pt x="4462" y="2746"/>
                    <a:pt x="4462" y="2746"/>
                    <a:pt x="4462" y="2746"/>
                  </a:cubicBezTo>
                  <a:cubicBezTo>
                    <a:pt x="4200" y="2741"/>
                    <a:pt x="3988" y="2666"/>
                    <a:pt x="3827" y="2515"/>
                  </a:cubicBezTo>
                  <a:cubicBezTo>
                    <a:pt x="3666" y="2353"/>
                    <a:pt x="3585" y="2126"/>
                    <a:pt x="3585" y="1829"/>
                  </a:cubicBezTo>
                  <a:cubicBezTo>
                    <a:pt x="3585" y="1521"/>
                    <a:pt x="3666" y="1295"/>
                    <a:pt x="3827" y="1143"/>
                  </a:cubicBezTo>
                  <a:cubicBezTo>
                    <a:pt x="3988" y="982"/>
                    <a:pt x="4200" y="906"/>
                    <a:pt x="4462" y="906"/>
                  </a:cubicBezTo>
                  <a:cubicBezTo>
                    <a:pt x="4882" y="906"/>
                    <a:pt x="4882" y="906"/>
                    <a:pt x="4882" y="906"/>
                  </a:cubicBezTo>
                  <a:lnTo>
                    <a:pt x="4882" y="59"/>
                  </a:lnTo>
                  <a:close/>
                  <a:moveTo>
                    <a:pt x="8904" y="60"/>
                  </a:moveTo>
                  <a:cubicBezTo>
                    <a:pt x="8592" y="60"/>
                    <a:pt x="8340" y="141"/>
                    <a:pt x="8138" y="302"/>
                  </a:cubicBezTo>
                  <a:cubicBezTo>
                    <a:pt x="7936" y="463"/>
                    <a:pt x="7836" y="716"/>
                    <a:pt x="7836" y="1058"/>
                  </a:cubicBezTo>
                  <a:cubicBezTo>
                    <a:pt x="7841" y="1310"/>
                    <a:pt x="7911" y="1502"/>
                    <a:pt x="8052" y="1643"/>
                  </a:cubicBezTo>
                  <a:cubicBezTo>
                    <a:pt x="8204" y="1789"/>
                    <a:pt x="8410" y="1956"/>
                    <a:pt x="8682" y="2152"/>
                  </a:cubicBezTo>
                  <a:cubicBezTo>
                    <a:pt x="8965" y="2354"/>
                    <a:pt x="9101" y="2495"/>
                    <a:pt x="9101" y="2586"/>
                  </a:cubicBezTo>
                  <a:cubicBezTo>
                    <a:pt x="9096" y="2717"/>
                    <a:pt x="8990" y="2777"/>
                    <a:pt x="8773" y="2777"/>
                  </a:cubicBezTo>
                  <a:cubicBezTo>
                    <a:pt x="7861" y="2777"/>
                    <a:pt x="7861" y="2777"/>
                    <a:pt x="7861" y="2777"/>
                  </a:cubicBezTo>
                  <a:cubicBezTo>
                    <a:pt x="7861" y="3594"/>
                    <a:pt x="7861" y="3594"/>
                    <a:pt x="7861" y="3594"/>
                  </a:cubicBezTo>
                  <a:cubicBezTo>
                    <a:pt x="8803" y="3594"/>
                    <a:pt x="8803" y="3594"/>
                    <a:pt x="8803" y="3594"/>
                  </a:cubicBezTo>
                  <a:cubicBezTo>
                    <a:pt x="9308" y="3594"/>
                    <a:pt x="9640" y="3493"/>
                    <a:pt x="9802" y="3291"/>
                  </a:cubicBezTo>
                  <a:cubicBezTo>
                    <a:pt x="9968" y="3090"/>
                    <a:pt x="10049" y="2838"/>
                    <a:pt x="10049" y="2535"/>
                  </a:cubicBezTo>
                  <a:cubicBezTo>
                    <a:pt x="10043" y="2288"/>
                    <a:pt x="9963" y="2092"/>
                    <a:pt x="9802" y="1935"/>
                  </a:cubicBezTo>
                  <a:cubicBezTo>
                    <a:pt x="9635" y="1774"/>
                    <a:pt x="9418" y="1603"/>
                    <a:pt x="9146" y="1421"/>
                  </a:cubicBezTo>
                  <a:cubicBezTo>
                    <a:pt x="8869" y="1230"/>
                    <a:pt x="8733" y="1099"/>
                    <a:pt x="8733" y="1023"/>
                  </a:cubicBezTo>
                  <a:cubicBezTo>
                    <a:pt x="8738" y="968"/>
                    <a:pt x="8753" y="932"/>
                    <a:pt x="8788" y="912"/>
                  </a:cubicBezTo>
                  <a:cubicBezTo>
                    <a:pt x="8829" y="887"/>
                    <a:pt x="8874" y="877"/>
                    <a:pt x="8934" y="877"/>
                  </a:cubicBezTo>
                  <a:cubicBezTo>
                    <a:pt x="9822" y="877"/>
                    <a:pt x="9822" y="877"/>
                    <a:pt x="9822" y="877"/>
                  </a:cubicBezTo>
                  <a:cubicBezTo>
                    <a:pt x="9822" y="60"/>
                    <a:pt x="9822" y="60"/>
                    <a:pt x="9822" y="60"/>
                  </a:cubicBezTo>
                  <a:lnTo>
                    <a:pt x="8904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</p:grp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CL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364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39" imgH="438" progId="TCLayout.ActiveDocument.1">
                  <p:embed/>
                </p:oleObj>
              </mc:Choice>
              <mc:Fallback>
                <p:oleObj name="Diapositiva de think-cell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9F790F7-63BE-496A-8178-694ADFB5A1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204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/>
            <a:endParaRPr lang="es-CL" sz="612">
              <a:solidFill>
                <a:srgbClr val="80808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5153" y="1652140"/>
            <a:ext cx="9304729" cy="164864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s-CL" err="1"/>
              <a:t>Click</a:t>
            </a:r>
            <a:r>
              <a:rPr lang="es-CL"/>
              <a:t> </a:t>
            </a:r>
            <a:r>
              <a:rPr lang="es-CL" err="1"/>
              <a:t>to</a:t>
            </a:r>
            <a:r>
              <a:rPr lang="es-CL"/>
              <a:t> </a:t>
            </a:r>
            <a:r>
              <a:rPr lang="es-CL" err="1"/>
              <a:t>edit</a:t>
            </a:r>
            <a:r>
              <a:rPr lang="es-CL"/>
              <a:t> Master </a:t>
            </a:r>
            <a:r>
              <a:rPr lang="es-CL" err="1"/>
              <a:t>text</a:t>
            </a:r>
            <a:r>
              <a:rPr lang="es-CL"/>
              <a:t> </a:t>
            </a:r>
            <a:r>
              <a:rPr lang="es-CL" err="1"/>
              <a:t>styles</a:t>
            </a:r>
            <a:endParaRPr lang="es-CL"/>
          </a:p>
          <a:p>
            <a:pPr lvl="1"/>
            <a:r>
              <a:rPr lang="es-CL" err="1"/>
              <a:t>Second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2"/>
            <a:r>
              <a:rPr lang="es-CL" err="1"/>
              <a:t>Third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3"/>
            <a:r>
              <a:rPr lang="es-CL" err="1"/>
              <a:t>Four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4"/>
            <a:r>
              <a:rPr lang="es-CL" err="1"/>
              <a:t>Fif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85153" y="234864"/>
            <a:ext cx="11273591" cy="40771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s-CL" err="1"/>
              <a:t>Click</a:t>
            </a:r>
            <a:r>
              <a:rPr lang="es-CL"/>
              <a:t> </a:t>
            </a:r>
            <a:r>
              <a:rPr lang="es-CL" err="1"/>
              <a:t>to</a:t>
            </a:r>
            <a:r>
              <a:rPr lang="es-CL"/>
              <a:t> </a:t>
            </a:r>
            <a:r>
              <a:rPr lang="es-CL" err="1"/>
              <a:t>edit</a:t>
            </a:r>
            <a:r>
              <a:rPr lang="es-CL"/>
              <a:t> Master </a:t>
            </a:r>
            <a:r>
              <a:rPr lang="es-CL" err="1"/>
              <a:t>title</a:t>
            </a:r>
            <a:r>
              <a:rPr lang="es-CL"/>
              <a:t> </a:t>
            </a:r>
            <a:r>
              <a:rPr lang="es-CL" err="1"/>
              <a:t>style</a:t>
            </a:r>
            <a:endParaRPr lang="es-CL"/>
          </a:p>
        </p:txBody>
      </p:sp>
      <p:sp>
        <p:nvSpPr>
          <p:cNvPr id="11" name="Slide Number"/>
          <p:cNvSpPr txBox="1">
            <a:spLocks/>
          </p:cNvSpPr>
          <p:nvPr/>
        </p:nvSpPr>
        <p:spPr bwMode="gray">
          <a:xfrm>
            <a:off x="11652053" y="6639224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s-CL" sz="816" smtClean="0">
                <a:solidFill>
                  <a:srgbClr val="000000"/>
                </a:solidFill>
              </a:rPr>
              <a:pPr/>
              <a:t>‹Nº›</a:t>
            </a:fld>
            <a:endParaRPr lang="es-CL" sz="816">
              <a:solidFill>
                <a:srgbClr val="000000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348626" y="6639224"/>
            <a:ext cx="31664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CL" sz="816">
                <a:solidFill>
                  <a:srgbClr val="000000"/>
                </a:solidFill>
              </a:rPr>
              <a:t>All content copyright © 2017 QuantumBlack, a McKinsey company </a:t>
            </a:r>
          </a:p>
        </p:txBody>
      </p:sp>
    </p:spTree>
    <p:extLst>
      <p:ext uri="{BB962C8B-B14F-4D97-AF65-F5344CB8AC3E}">
        <p14:creationId xmlns:p14="http://schemas.microsoft.com/office/powerpoint/2010/main" val="314863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EFCB4C-B7E1-4721-A88F-8A744F5939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EFCB4C-B7E1-4721-A88F-8A744F5939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7479AF-43DC-4E32-B1A5-F0EC55AD8D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204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B1477F-4B85-4FE2-94A1-4AC6EABBC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err="1"/>
              <a:t>Click</a:t>
            </a:r>
            <a:r>
              <a:rPr lang="es-CL"/>
              <a:t> </a:t>
            </a:r>
            <a:r>
              <a:rPr lang="es-CL" err="1"/>
              <a:t>to</a:t>
            </a:r>
            <a:r>
              <a:rPr lang="es-CL"/>
              <a:t> </a:t>
            </a:r>
            <a:r>
              <a:rPr lang="es-CL" err="1"/>
              <a:t>edit</a:t>
            </a:r>
            <a:r>
              <a:rPr lang="es-CL"/>
              <a:t> Master </a:t>
            </a:r>
            <a:r>
              <a:rPr lang="es-CL" err="1"/>
              <a:t>title</a:t>
            </a:r>
            <a:r>
              <a:rPr lang="es-CL"/>
              <a:t> </a:t>
            </a:r>
            <a:r>
              <a:rPr lang="es-CL" err="1"/>
              <a:t>style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2391631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D55200-EC1E-4AA9-84D8-7CF7A3948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D55200-EC1E-4AA9-84D8-7CF7A3948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6959F27-51A3-438D-BB0E-BC46040FC3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2041" b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8" name="1 Marcador de título"/>
          <p:cNvSpPr>
            <a:spLocks noGrp="1"/>
          </p:cNvSpPr>
          <p:nvPr>
            <p:ph type="title" hasCustomPrompt="1"/>
          </p:nvPr>
        </p:nvSpPr>
        <p:spPr bwMode="auto">
          <a:xfrm>
            <a:off x="527382" y="120452"/>
            <a:ext cx="10657184" cy="314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>
                <a:solidFill>
                  <a:srgbClr val="1C622C"/>
                </a:solidFill>
              </a:defRPr>
            </a:lvl1pPr>
          </a:lstStyle>
          <a:p>
            <a:pPr lvl="0" algn="l"/>
            <a:r>
              <a:rPr lang="es-CL" altLang="es-CL"/>
              <a:t>Haga clic para modificar estilo de título del patrón</a:t>
            </a:r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20651" y="6587480"/>
            <a:ext cx="432000" cy="15388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0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527382" y="6584354"/>
            <a:ext cx="10657184" cy="15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CL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564442" indent="-564442" defTabSz="922447">
              <a:tabLst>
                <a:tab pos="535868" algn="r"/>
              </a:tabLst>
            </a:pPr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3" name="Conector recto 12"/>
          <p:cNvCxnSpPr/>
          <p:nvPr userDrawn="1"/>
        </p:nvCxnSpPr>
        <p:spPr>
          <a:xfrm>
            <a:off x="527382" y="792322"/>
            <a:ext cx="11424000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 userDrawn="1"/>
        </p:nvCxnSpPr>
        <p:spPr>
          <a:xfrm>
            <a:off x="527382" y="6416840"/>
            <a:ext cx="11424000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062443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bg>
      <p:bgPr>
        <a:gradFill>
          <a:gsLst>
            <a:gs pos="0">
              <a:schemeClr val="accent2">
                <a:lumMod val="60000"/>
                <a:lumOff val="40000"/>
              </a:schemeClr>
            </a:gs>
            <a:gs pos="34000">
              <a:schemeClr val="accent2">
                <a:lumMod val="60000"/>
                <a:lumOff val="40000"/>
                <a:alpha val="64000"/>
              </a:schemeClr>
            </a:gs>
            <a:gs pos="97000">
              <a:srgbClr val="FFE733"/>
            </a:gs>
          </a:gsLst>
          <a:path path="circle">
            <a:fillToRect l="50000" t="130000" r="50000" b="-3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7A8348-974C-4FD1-A717-62D1687A9A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08" imgH="309" progId="TCLayout.ActiveDocument.1">
                  <p:embed/>
                </p:oleObj>
              </mc:Choice>
              <mc:Fallback>
                <p:oleObj name="Diapositiva de think-cell" r:id="rId4" imgW="308" imgH="3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7A8348-974C-4FD1-A717-62D1687A9A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EE9160-3D16-4902-808E-755EE72BAF1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0EBE797-12DD-4F73-878B-9ADB104742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1"/>
            <a:ext cx="12192001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s-CO" sz="1943">
              <a:solidFill>
                <a:srgbClr val="000000"/>
              </a:solidFill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4A6E67B-319F-41A6-9BBE-1832D2ADA20E}"/>
              </a:ext>
            </a:extLst>
          </p:cNvPr>
          <p:cNvGrpSpPr/>
          <p:nvPr/>
        </p:nvGrpSpPr>
        <p:grpSpPr>
          <a:xfrm>
            <a:off x="1903998" y="1"/>
            <a:ext cx="10288003" cy="6858000"/>
            <a:chOff x="1903997" y="0"/>
            <a:chExt cx="10288003" cy="68580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37EB579-5137-46EF-9E63-DCEACD82CE6F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03997" y="0"/>
              <a:ext cx="10288003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38CBE66-9DE6-4FD5-9660-70D87DAAF0F2}"/>
                </a:ext>
              </a:extLst>
            </p:cNvPr>
            <p:cNvSpPr>
              <a:spLocks/>
            </p:cNvSpPr>
            <p:nvPr userDrawn="1"/>
          </p:nvSpPr>
          <p:spPr>
            <a:xfrm>
              <a:off x="1903997" y="0"/>
              <a:ext cx="10288003" cy="6858000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50000"/>
                  </a:schemeClr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O" sz="160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A6981FB5-15C3-4FFD-82DC-1482915CF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1"/>
            <a:ext cx="12192001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90000"/>
                  <a:lumOff val="10000"/>
                  <a:alpha val="85000"/>
                </a:schemeClr>
              </a:gs>
              <a:gs pos="34000">
                <a:schemeClr val="tx2">
                  <a:lumMod val="90000"/>
                  <a:lumOff val="10000"/>
                  <a:alpha val="85000"/>
                </a:schemeClr>
              </a:gs>
              <a:gs pos="78000">
                <a:schemeClr val="tx2">
                  <a:alpha val="85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s-CO" sz="1943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40468"/>
            <a:ext cx="18155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FFFFFF"/>
                </a:solidFill>
              </a:rPr>
              <a:pPr/>
              <a:t>‹Nº›</a:t>
            </a:fld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47"/>
            <a:endParaRPr lang="en-US" sz="800">
              <a:solidFill>
                <a:srgbClr val="80808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CF3EF8B-5936-4AA1-B5F5-A7CC066AC2ED}"/>
              </a:ext>
            </a:extLst>
          </p:cNvPr>
          <p:cNvSpPr/>
          <p:nvPr/>
        </p:nvSpPr>
        <p:spPr>
          <a:xfrm>
            <a:off x="0" y="6757051"/>
            <a:ext cx="10753725" cy="48675"/>
          </a:xfrm>
          <a:prstGeom prst="rect">
            <a:avLst/>
          </a:prstGeom>
          <a:solidFill>
            <a:srgbClr val="FFD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943">
              <a:solidFill>
                <a:srgbClr val="00000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289F4E7-F0D5-4DEB-90D6-4C3C4C292E4A}"/>
              </a:ext>
            </a:extLst>
          </p:cNvPr>
          <p:cNvGrpSpPr>
            <a:grpSpLocks/>
          </p:cNvGrpSpPr>
          <p:nvPr/>
        </p:nvGrpSpPr>
        <p:grpSpPr>
          <a:xfrm>
            <a:off x="10804525" y="6646530"/>
            <a:ext cx="756600" cy="159198"/>
            <a:chOff x="12382676" y="4796476"/>
            <a:chExt cx="2167370" cy="465858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5702056-AFEC-4910-B4F8-39587A1D1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82676" y="4798090"/>
              <a:ext cx="452410" cy="454561"/>
            </a:xfrm>
            <a:custGeom>
              <a:avLst/>
              <a:gdLst>
                <a:gd name="T0" fmla="*/ 0 w 636"/>
                <a:gd name="T1" fmla="*/ 0 h 639"/>
                <a:gd name="T2" fmla="*/ 636 w 636"/>
                <a:gd name="T3" fmla="*/ 0 h 639"/>
                <a:gd name="T4" fmla="*/ 636 w 636"/>
                <a:gd name="T5" fmla="*/ 639 h 639"/>
                <a:gd name="T6" fmla="*/ 203 w 636"/>
                <a:gd name="T7" fmla="*/ 639 h 639"/>
                <a:gd name="T8" fmla="*/ 0 w 636"/>
                <a:gd name="T9" fmla="*/ 451 h 639"/>
                <a:gd name="T10" fmla="*/ 0 w 636"/>
                <a:gd name="T11" fmla="*/ 0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6" h="639">
                  <a:moveTo>
                    <a:pt x="0" y="0"/>
                  </a:moveTo>
                  <a:cubicBezTo>
                    <a:pt x="636" y="0"/>
                    <a:pt x="636" y="0"/>
                    <a:pt x="636" y="0"/>
                  </a:cubicBezTo>
                  <a:cubicBezTo>
                    <a:pt x="636" y="639"/>
                    <a:pt x="636" y="639"/>
                    <a:pt x="636" y="639"/>
                  </a:cubicBezTo>
                  <a:cubicBezTo>
                    <a:pt x="203" y="639"/>
                    <a:pt x="203" y="639"/>
                    <a:pt x="203" y="639"/>
                  </a:cubicBezTo>
                  <a:cubicBezTo>
                    <a:pt x="203" y="639"/>
                    <a:pt x="35" y="638"/>
                    <a:pt x="0" y="45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296EE75C-C93E-4FC7-89BE-12B460613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08612" y="4878243"/>
              <a:ext cx="152238" cy="147396"/>
            </a:xfrm>
            <a:custGeom>
              <a:avLst/>
              <a:gdLst>
                <a:gd name="T0" fmla="*/ 0 w 283"/>
                <a:gd name="T1" fmla="*/ 0 h 274"/>
                <a:gd name="T2" fmla="*/ 283 w 283"/>
                <a:gd name="T3" fmla="*/ 0 h 274"/>
                <a:gd name="T4" fmla="*/ 283 w 283"/>
                <a:gd name="T5" fmla="*/ 274 h 274"/>
                <a:gd name="T6" fmla="*/ 156 w 283"/>
                <a:gd name="T7" fmla="*/ 274 h 274"/>
                <a:gd name="T8" fmla="*/ 156 w 283"/>
                <a:gd name="T9" fmla="*/ 119 h 274"/>
                <a:gd name="T10" fmla="*/ 0 w 283"/>
                <a:gd name="T11" fmla="*/ 119 h 274"/>
                <a:gd name="T12" fmla="*/ 0 w 283"/>
                <a:gd name="T1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" h="274">
                  <a:moveTo>
                    <a:pt x="0" y="0"/>
                  </a:moveTo>
                  <a:lnTo>
                    <a:pt x="283" y="0"/>
                  </a:lnTo>
                  <a:lnTo>
                    <a:pt x="283" y="274"/>
                  </a:lnTo>
                  <a:lnTo>
                    <a:pt x="156" y="274"/>
                  </a:lnTo>
                  <a:lnTo>
                    <a:pt x="156" y="119"/>
                  </a:lnTo>
                  <a:lnTo>
                    <a:pt x="0" y="1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B2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AC519DCA-7684-4D34-A8D9-7BEFE7E360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84633" y="4805083"/>
              <a:ext cx="157617" cy="185052"/>
            </a:xfrm>
            <a:custGeom>
              <a:avLst/>
              <a:gdLst>
                <a:gd name="T0" fmla="*/ 157 w 222"/>
                <a:gd name="T1" fmla="*/ 0 h 260"/>
                <a:gd name="T2" fmla="*/ 211 w 222"/>
                <a:gd name="T3" fmla="*/ 64 h 260"/>
                <a:gd name="T4" fmla="*/ 183 w 222"/>
                <a:gd name="T5" fmla="*/ 125 h 260"/>
                <a:gd name="T6" fmla="*/ 218 w 222"/>
                <a:gd name="T7" fmla="*/ 184 h 260"/>
                <a:gd name="T8" fmla="*/ 148 w 222"/>
                <a:gd name="T9" fmla="*/ 260 h 260"/>
                <a:gd name="T10" fmla="*/ 0 w 222"/>
                <a:gd name="T11" fmla="*/ 260 h 260"/>
                <a:gd name="T12" fmla="*/ 0 w 222"/>
                <a:gd name="T13" fmla="*/ 0 h 260"/>
                <a:gd name="T14" fmla="*/ 157 w 222"/>
                <a:gd name="T15" fmla="*/ 0 h 260"/>
                <a:gd name="T16" fmla="*/ 56 w 222"/>
                <a:gd name="T17" fmla="*/ 46 h 260"/>
                <a:gd name="T18" fmla="*/ 56 w 222"/>
                <a:gd name="T19" fmla="*/ 103 h 260"/>
                <a:gd name="T20" fmla="*/ 133 w 222"/>
                <a:gd name="T21" fmla="*/ 103 h 260"/>
                <a:gd name="T22" fmla="*/ 159 w 222"/>
                <a:gd name="T23" fmla="*/ 74 h 260"/>
                <a:gd name="T24" fmla="*/ 131 w 222"/>
                <a:gd name="T25" fmla="*/ 46 h 260"/>
                <a:gd name="T26" fmla="*/ 56 w 222"/>
                <a:gd name="T27" fmla="*/ 46 h 260"/>
                <a:gd name="T28" fmla="*/ 56 w 222"/>
                <a:gd name="T29" fmla="*/ 145 h 260"/>
                <a:gd name="T30" fmla="*/ 56 w 222"/>
                <a:gd name="T31" fmla="*/ 212 h 260"/>
                <a:gd name="T32" fmla="*/ 131 w 222"/>
                <a:gd name="T33" fmla="*/ 212 h 260"/>
                <a:gd name="T34" fmla="*/ 168 w 222"/>
                <a:gd name="T35" fmla="*/ 176 h 260"/>
                <a:gd name="T36" fmla="*/ 136 w 222"/>
                <a:gd name="T37" fmla="*/ 145 h 260"/>
                <a:gd name="T38" fmla="*/ 56 w 222"/>
                <a:gd name="T39" fmla="*/ 145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2" h="260">
                  <a:moveTo>
                    <a:pt x="157" y="0"/>
                  </a:moveTo>
                  <a:cubicBezTo>
                    <a:pt x="211" y="9"/>
                    <a:pt x="211" y="64"/>
                    <a:pt x="211" y="64"/>
                  </a:cubicBezTo>
                  <a:cubicBezTo>
                    <a:pt x="218" y="94"/>
                    <a:pt x="183" y="125"/>
                    <a:pt x="183" y="125"/>
                  </a:cubicBezTo>
                  <a:cubicBezTo>
                    <a:pt x="218" y="134"/>
                    <a:pt x="218" y="184"/>
                    <a:pt x="218" y="184"/>
                  </a:cubicBezTo>
                  <a:cubicBezTo>
                    <a:pt x="222" y="249"/>
                    <a:pt x="148" y="260"/>
                    <a:pt x="148" y="260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57" y="0"/>
                  </a:lnTo>
                  <a:close/>
                  <a:moveTo>
                    <a:pt x="56" y="46"/>
                  </a:moveTo>
                  <a:cubicBezTo>
                    <a:pt x="56" y="103"/>
                    <a:pt x="56" y="103"/>
                    <a:pt x="56" y="103"/>
                  </a:cubicBezTo>
                  <a:cubicBezTo>
                    <a:pt x="133" y="103"/>
                    <a:pt x="133" y="103"/>
                    <a:pt x="133" y="103"/>
                  </a:cubicBezTo>
                  <a:cubicBezTo>
                    <a:pt x="133" y="103"/>
                    <a:pt x="160" y="97"/>
                    <a:pt x="159" y="74"/>
                  </a:cubicBezTo>
                  <a:cubicBezTo>
                    <a:pt x="159" y="74"/>
                    <a:pt x="157" y="46"/>
                    <a:pt x="131" y="46"/>
                  </a:cubicBezTo>
                  <a:lnTo>
                    <a:pt x="56" y="46"/>
                  </a:lnTo>
                  <a:close/>
                  <a:moveTo>
                    <a:pt x="56" y="145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131" y="212"/>
                    <a:pt x="131" y="212"/>
                    <a:pt x="131" y="212"/>
                  </a:cubicBezTo>
                  <a:cubicBezTo>
                    <a:pt x="131" y="212"/>
                    <a:pt x="165" y="208"/>
                    <a:pt x="168" y="176"/>
                  </a:cubicBezTo>
                  <a:cubicBezTo>
                    <a:pt x="168" y="176"/>
                    <a:pt x="166" y="145"/>
                    <a:pt x="136" y="145"/>
                  </a:cubicBezTo>
                  <a:lnTo>
                    <a:pt x="56" y="1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2C45B76F-8F32-4D73-9434-83872803D6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56775" y="4805083"/>
              <a:ext cx="183439" cy="185052"/>
            </a:xfrm>
            <a:custGeom>
              <a:avLst/>
              <a:gdLst>
                <a:gd name="T0" fmla="*/ 133 w 341"/>
                <a:gd name="T1" fmla="*/ 0 h 344"/>
                <a:gd name="T2" fmla="*/ 206 w 341"/>
                <a:gd name="T3" fmla="*/ 0 h 344"/>
                <a:gd name="T4" fmla="*/ 341 w 341"/>
                <a:gd name="T5" fmla="*/ 344 h 344"/>
                <a:gd name="T6" fmla="*/ 267 w 341"/>
                <a:gd name="T7" fmla="*/ 344 h 344"/>
                <a:gd name="T8" fmla="*/ 239 w 341"/>
                <a:gd name="T9" fmla="*/ 272 h 344"/>
                <a:gd name="T10" fmla="*/ 105 w 341"/>
                <a:gd name="T11" fmla="*/ 272 h 344"/>
                <a:gd name="T12" fmla="*/ 72 w 341"/>
                <a:gd name="T13" fmla="*/ 344 h 344"/>
                <a:gd name="T14" fmla="*/ 0 w 341"/>
                <a:gd name="T15" fmla="*/ 344 h 344"/>
                <a:gd name="T16" fmla="*/ 133 w 341"/>
                <a:gd name="T17" fmla="*/ 0 h 344"/>
                <a:gd name="T18" fmla="*/ 170 w 341"/>
                <a:gd name="T19" fmla="*/ 98 h 344"/>
                <a:gd name="T20" fmla="*/ 121 w 341"/>
                <a:gd name="T21" fmla="*/ 213 h 344"/>
                <a:gd name="T22" fmla="*/ 219 w 341"/>
                <a:gd name="T23" fmla="*/ 213 h 344"/>
                <a:gd name="T24" fmla="*/ 170 w 341"/>
                <a:gd name="T25" fmla="*/ 98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1" h="344">
                  <a:moveTo>
                    <a:pt x="133" y="0"/>
                  </a:moveTo>
                  <a:lnTo>
                    <a:pt x="206" y="0"/>
                  </a:lnTo>
                  <a:lnTo>
                    <a:pt x="341" y="344"/>
                  </a:lnTo>
                  <a:lnTo>
                    <a:pt x="267" y="344"/>
                  </a:lnTo>
                  <a:lnTo>
                    <a:pt x="239" y="272"/>
                  </a:lnTo>
                  <a:lnTo>
                    <a:pt x="105" y="272"/>
                  </a:lnTo>
                  <a:lnTo>
                    <a:pt x="72" y="344"/>
                  </a:lnTo>
                  <a:lnTo>
                    <a:pt x="0" y="344"/>
                  </a:lnTo>
                  <a:lnTo>
                    <a:pt x="133" y="0"/>
                  </a:lnTo>
                  <a:close/>
                  <a:moveTo>
                    <a:pt x="170" y="98"/>
                  </a:moveTo>
                  <a:lnTo>
                    <a:pt x="121" y="213"/>
                  </a:lnTo>
                  <a:lnTo>
                    <a:pt x="219" y="213"/>
                  </a:lnTo>
                  <a:lnTo>
                    <a:pt x="170" y="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6CF6980A-5284-4A5A-9776-CD927F8003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65532" y="5063295"/>
              <a:ext cx="184514" cy="185590"/>
            </a:xfrm>
            <a:custGeom>
              <a:avLst/>
              <a:gdLst>
                <a:gd name="T0" fmla="*/ 134 w 343"/>
                <a:gd name="T1" fmla="*/ 0 h 345"/>
                <a:gd name="T2" fmla="*/ 206 w 343"/>
                <a:gd name="T3" fmla="*/ 0 h 345"/>
                <a:gd name="T4" fmla="*/ 343 w 343"/>
                <a:gd name="T5" fmla="*/ 345 h 345"/>
                <a:gd name="T6" fmla="*/ 267 w 343"/>
                <a:gd name="T7" fmla="*/ 345 h 345"/>
                <a:gd name="T8" fmla="*/ 239 w 343"/>
                <a:gd name="T9" fmla="*/ 274 h 345"/>
                <a:gd name="T10" fmla="*/ 106 w 343"/>
                <a:gd name="T11" fmla="*/ 274 h 345"/>
                <a:gd name="T12" fmla="*/ 73 w 343"/>
                <a:gd name="T13" fmla="*/ 345 h 345"/>
                <a:gd name="T14" fmla="*/ 0 w 343"/>
                <a:gd name="T15" fmla="*/ 345 h 345"/>
                <a:gd name="T16" fmla="*/ 134 w 343"/>
                <a:gd name="T17" fmla="*/ 0 h 345"/>
                <a:gd name="T18" fmla="*/ 171 w 343"/>
                <a:gd name="T19" fmla="*/ 99 h 345"/>
                <a:gd name="T20" fmla="*/ 122 w 343"/>
                <a:gd name="T21" fmla="*/ 214 h 345"/>
                <a:gd name="T22" fmla="*/ 219 w 343"/>
                <a:gd name="T23" fmla="*/ 214 h 345"/>
                <a:gd name="T24" fmla="*/ 171 w 343"/>
                <a:gd name="T25" fmla="*/ 99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" h="345">
                  <a:moveTo>
                    <a:pt x="134" y="0"/>
                  </a:moveTo>
                  <a:lnTo>
                    <a:pt x="206" y="0"/>
                  </a:lnTo>
                  <a:lnTo>
                    <a:pt x="343" y="345"/>
                  </a:lnTo>
                  <a:lnTo>
                    <a:pt x="267" y="345"/>
                  </a:lnTo>
                  <a:lnTo>
                    <a:pt x="239" y="274"/>
                  </a:lnTo>
                  <a:lnTo>
                    <a:pt x="106" y="274"/>
                  </a:lnTo>
                  <a:lnTo>
                    <a:pt x="73" y="345"/>
                  </a:lnTo>
                  <a:lnTo>
                    <a:pt x="0" y="345"/>
                  </a:lnTo>
                  <a:lnTo>
                    <a:pt x="134" y="0"/>
                  </a:lnTo>
                  <a:close/>
                  <a:moveTo>
                    <a:pt x="171" y="99"/>
                  </a:moveTo>
                  <a:lnTo>
                    <a:pt x="122" y="214"/>
                  </a:lnTo>
                  <a:lnTo>
                    <a:pt x="219" y="214"/>
                  </a:lnTo>
                  <a:lnTo>
                    <a:pt x="171" y="9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FCD381DE-7197-430C-A93D-91BFE24F9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64535" y="4796476"/>
              <a:ext cx="183976" cy="206570"/>
            </a:xfrm>
            <a:custGeom>
              <a:avLst/>
              <a:gdLst>
                <a:gd name="T0" fmla="*/ 226 w 259"/>
                <a:gd name="T1" fmla="*/ 191 h 290"/>
                <a:gd name="T2" fmla="*/ 259 w 259"/>
                <a:gd name="T3" fmla="*/ 224 h 290"/>
                <a:gd name="T4" fmla="*/ 153 w 259"/>
                <a:gd name="T5" fmla="*/ 272 h 290"/>
                <a:gd name="T6" fmla="*/ 9 w 259"/>
                <a:gd name="T7" fmla="*/ 142 h 290"/>
                <a:gd name="T8" fmla="*/ 153 w 259"/>
                <a:gd name="T9" fmla="*/ 2 h 290"/>
                <a:gd name="T10" fmla="*/ 253 w 259"/>
                <a:gd name="T11" fmla="*/ 47 h 290"/>
                <a:gd name="T12" fmla="*/ 216 w 259"/>
                <a:gd name="T13" fmla="*/ 81 h 290"/>
                <a:gd name="T14" fmla="*/ 149 w 259"/>
                <a:gd name="T15" fmla="*/ 52 h 290"/>
                <a:gd name="T16" fmla="*/ 68 w 259"/>
                <a:gd name="T17" fmla="*/ 137 h 290"/>
                <a:gd name="T18" fmla="*/ 150 w 259"/>
                <a:gd name="T19" fmla="*/ 226 h 290"/>
                <a:gd name="T20" fmla="*/ 226 w 259"/>
                <a:gd name="T21" fmla="*/ 19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9" h="290">
                  <a:moveTo>
                    <a:pt x="226" y="191"/>
                  </a:moveTo>
                  <a:cubicBezTo>
                    <a:pt x="259" y="224"/>
                    <a:pt x="259" y="224"/>
                    <a:pt x="259" y="224"/>
                  </a:cubicBezTo>
                  <a:cubicBezTo>
                    <a:pt x="259" y="224"/>
                    <a:pt x="230" y="272"/>
                    <a:pt x="153" y="272"/>
                  </a:cubicBezTo>
                  <a:cubicBezTo>
                    <a:pt x="153" y="272"/>
                    <a:pt x="20" y="290"/>
                    <a:pt x="9" y="142"/>
                  </a:cubicBezTo>
                  <a:cubicBezTo>
                    <a:pt x="9" y="142"/>
                    <a:pt x="0" y="8"/>
                    <a:pt x="153" y="2"/>
                  </a:cubicBezTo>
                  <a:cubicBezTo>
                    <a:pt x="153" y="2"/>
                    <a:pt x="220" y="0"/>
                    <a:pt x="253" y="47"/>
                  </a:cubicBezTo>
                  <a:cubicBezTo>
                    <a:pt x="216" y="81"/>
                    <a:pt x="216" y="81"/>
                    <a:pt x="216" y="81"/>
                  </a:cubicBezTo>
                  <a:cubicBezTo>
                    <a:pt x="216" y="81"/>
                    <a:pt x="197" y="52"/>
                    <a:pt x="149" y="52"/>
                  </a:cubicBezTo>
                  <a:cubicBezTo>
                    <a:pt x="149" y="52"/>
                    <a:pt x="74" y="51"/>
                    <a:pt x="68" y="137"/>
                  </a:cubicBezTo>
                  <a:cubicBezTo>
                    <a:pt x="68" y="137"/>
                    <a:pt x="65" y="219"/>
                    <a:pt x="150" y="226"/>
                  </a:cubicBezTo>
                  <a:cubicBezTo>
                    <a:pt x="150" y="226"/>
                    <a:pt x="202" y="230"/>
                    <a:pt x="226" y="19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499C5ED6-D7EF-4A2E-B4CE-A723F8F85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080" y="5056302"/>
              <a:ext cx="184514" cy="206032"/>
            </a:xfrm>
            <a:custGeom>
              <a:avLst/>
              <a:gdLst>
                <a:gd name="T0" fmla="*/ 226 w 259"/>
                <a:gd name="T1" fmla="*/ 191 h 290"/>
                <a:gd name="T2" fmla="*/ 259 w 259"/>
                <a:gd name="T3" fmla="*/ 224 h 290"/>
                <a:gd name="T4" fmla="*/ 153 w 259"/>
                <a:gd name="T5" fmla="*/ 272 h 290"/>
                <a:gd name="T6" fmla="*/ 9 w 259"/>
                <a:gd name="T7" fmla="*/ 142 h 290"/>
                <a:gd name="T8" fmla="*/ 153 w 259"/>
                <a:gd name="T9" fmla="*/ 3 h 290"/>
                <a:gd name="T10" fmla="*/ 253 w 259"/>
                <a:gd name="T11" fmla="*/ 47 h 290"/>
                <a:gd name="T12" fmla="*/ 216 w 259"/>
                <a:gd name="T13" fmla="*/ 82 h 290"/>
                <a:gd name="T14" fmla="*/ 149 w 259"/>
                <a:gd name="T15" fmla="*/ 53 h 290"/>
                <a:gd name="T16" fmla="*/ 68 w 259"/>
                <a:gd name="T17" fmla="*/ 138 h 290"/>
                <a:gd name="T18" fmla="*/ 150 w 259"/>
                <a:gd name="T19" fmla="*/ 226 h 290"/>
                <a:gd name="T20" fmla="*/ 226 w 259"/>
                <a:gd name="T21" fmla="*/ 19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9" h="290">
                  <a:moveTo>
                    <a:pt x="226" y="191"/>
                  </a:moveTo>
                  <a:cubicBezTo>
                    <a:pt x="259" y="224"/>
                    <a:pt x="259" y="224"/>
                    <a:pt x="259" y="224"/>
                  </a:cubicBezTo>
                  <a:cubicBezTo>
                    <a:pt x="259" y="224"/>
                    <a:pt x="230" y="272"/>
                    <a:pt x="153" y="272"/>
                  </a:cubicBezTo>
                  <a:cubicBezTo>
                    <a:pt x="153" y="272"/>
                    <a:pt x="20" y="290"/>
                    <a:pt x="9" y="142"/>
                  </a:cubicBezTo>
                  <a:cubicBezTo>
                    <a:pt x="9" y="142"/>
                    <a:pt x="0" y="9"/>
                    <a:pt x="153" y="3"/>
                  </a:cubicBezTo>
                  <a:cubicBezTo>
                    <a:pt x="153" y="3"/>
                    <a:pt x="220" y="0"/>
                    <a:pt x="253" y="47"/>
                  </a:cubicBezTo>
                  <a:cubicBezTo>
                    <a:pt x="216" y="82"/>
                    <a:pt x="216" y="82"/>
                    <a:pt x="216" y="82"/>
                  </a:cubicBezTo>
                  <a:cubicBezTo>
                    <a:pt x="216" y="82"/>
                    <a:pt x="197" y="53"/>
                    <a:pt x="149" y="53"/>
                  </a:cubicBezTo>
                  <a:cubicBezTo>
                    <a:pt x="149" y="53"/>
                    <a:pt x="74" y="51"/>
                    <a:pt x="68" y="138"/>
                  </a:cubicBezTo>
                  <a:cubicBezTo>
                    <a:pt x="68" y="138"/>
                    <a:pt x="65" y="220"/>
                    <a:pt x="150" y="226"/>
                  </a:cubicBezTo>
                  <a:cubicBezTo>
                    <a:pt x="150" y="226"/>
                    <a:pt x="202" y="230"/>
                    <a:pt x="226" y="19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04F46C2F-3379-4DCE-9F20-4F4AE9019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52930" y="5056302"/>
              <a:ext cx="183439" cy="206032"/>
            </a:xfrm>
            <a:custGeom>
              <a:avLst/>
              <a:gdLst>
                <a:gd name="T0" fmla="*/ 225 w 258"/>
                <a:gd name="T1" fmla="*/ 191 h 290"/>
                <a:gd name="T2" fmla="*/ 258 w 258"/>
                <a:gd name="T3" fmla="*/ 224 h 290"/>
                <a:gd name="T4" fmla="*/ 152 w 258"/>
                <a:gd name="T5" fmla="*/ 272 h 290"/>
                <a:gd name="T6" fmla="*/ 8 w 258"/>
                <a:gd name="T7" fmla="*/ 142 h 290"/>
                <a:gd name="T8" fmla="*/ 152 w 258"/>
                <a:gd name="T9" fmla="*/ 3 h 290"/>
                <a:gd name="T10" fmla="*/ 252 w 258"/>
                <a:gd name="T11" fmla="*/ 47 h 290"/>
                <a:gd name="T12" fmla="*/ 215 w 258"/>
                <a:gd name="T13" fmla="*/ 82 h 290"/>
                <a:gd name="T14" fmla="*/ 148 w 258"/>
                <a:gd name="T15" fmla="*/ 53 h 290"/>
                <a:gd name="T16" fmla="*/ 67 w 258"/>
                <a:gd name="T17" fmla="*/ 138 h 290"/>
                <a:gd name="T18" fmla="*/ 149 w 258"/>
                <a:gd name="T19" fmla="*/ 226 h 290"/>
                <a:gd name="T20" fmla="*/ 225 w 258"/>
                <a:gd name="T21" fmla="*/ 19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290">
                  <a:moveTo>
                    <a:pt x="225" y="191"/>
                  </a:moveTo>
                  <a:cubicBezTo>
                    <a:pt x="258" y="224"/>
                    <a:pt x="258" y="224"/>
                    <a:pt x="258" y="224"/>
                  </a:cubicBezTo>
                  <a:cubicBezTo>
                    <a:pt x="258" y="224"/>
                    <a:pt x="229" y="272"/>
                    <a:pt x="152" y="272"/>
                  </a:cubicBezTo>
                  <a:cubicBezTo>
                    <a:pt x="152" y="272"/>
                    <a:pt x="19" y="290"/>
                    <a:pt x="8" y="142"/>
                  </a:cubicBezTo>
                  <a:cubicBezTo>
                    <a:pt x="8" y="142"/>
                    <a:pt x="0" y="9"/>
                    <a:pt x="152" y="3"/>
                  </a:cubicBezTo>
                  <a:cubicBezTo>
                    <a:pt x="152" y="3"/>
                    <a:pt x="219" y="0"/>
                    <a:pt x="252" y="47"/>
                  </a:cubicBezTo>
                  <a:cubicBezTo>
                    <a:pt x="215" y="82"/>
                    <a:pt x="215" y="82"/>
                    <a:pt x="215" y="82"/>
                  </a:cubicBezTo>
                  <a:cubicBezTo>
                    <a:pt x="215" y="82"/>
                    <a:pt x="196" y="53"/>
                    <a:pt x="148" y="53"/>
                  </a:cubicBezTo>
                  <a:cubicBezTo>
                    <a:pt x="148" y="53"/>
                    <a:pt x="73" y="51"/>
                    <a:pt x="67" y="138"/>
                  </a:cubicBezTo>
                  <a:cubicBezTo>
                    <a:pt x="67" y="138"/>
                    <a:pt x="64" y="220"/>
                    <a:pt x="149" y="226"/>
                  </a:cubicBezTo>
                  <a:cubicBezTo>
                    <a:pt x="149" y="226"/>
                    <a:pt x="201" y="230"/>
                    <a:pt x="225" y="19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A787D1A4-0E22-456E-BD5C-DB5EFE37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68416" y="4797014"/>
              <a:ext cx="197425" cy="197425"/>
            </a:xfrm>
            <a:custGeom>
              <a:avLst/>
              <a:gdLst>
                <a:gd name="T0" fmla="*/ 139 w 277"/>
                <a:gd name="T1" fmla="*/ 225 h 277"/>
                <a:gd name="T2" fmla="*/ 52 w 277"/>
                <a:gd name="T3" fmla="*/ 138 h 277"/>
                <a:gd name="T4" fmla="*/ 139 w 277"/>
                <a:gd name="T5" fmla="*/ 52 h 277"/>
                <a:gd name="T6" fmla="*/ 226 w 277"/>
                <a:gd name="T7" fmla="*/ 138 h 277"/>
                <a:gd name="T8" fmla="*/ 139 w 277"/>
                <a:gd name="T9" fmla="*/ 225 h 277"/>
                <a:gd name="T10" fmla="*/ 277 w 277"/>
                <a:gd name="T11" fmla="*/ 138 h 277"/>
                <a:gd name="T12" fmla="*/ 139 w 277"/>
                <a:gd name="T13" fmla="*/ 0 h 277"/>
                <a:gd name="T14" fmla="*/ 0 w 277"/>
                <a:gd name="T15" fmla="*/ 138 h 277"/>
                <a:gd name="T16" fmla="*/ 139 w 277"/>
                <a:gd name="T17" fmla="*/ 277 h 277"/>
                <a:gd name="T18" fmla="*/ 277 w 277"/>
                <a:gd name="T19" fmla="*/ 13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7" h="277">
                  <a:moveTo>
                    <a:pt x="139" y="225"/>
                  </a:moveTo>
                  <a:cubicBezTo>
                    <a:pt x="91" y="225"/>
                    <a:pt x="52" y="186"/>
                    <a:pt x="52" y="138"/>
                  </a:cubicBezTo>
                  <a:cubicBezTo>
                    <a:pt x="52" y="90"/>
                    <a:pt x="91" y="52"/>
                    <a:pt x="139" y="52"/>
                  </a:cubicBezTo>
                  <a:cubicBezTo>
                    <a:pt x="187" y="52"/>
                    <a:pt x="226" y="90"/>
                    <a:pt x="226" y="138"/>
                  </a:cubicBezTo>
                  <a:cubicBezTo>
                    <a:pt x="226" y="186"/>
                    <a:pt x="187" y="225"/>
                    <a:pt x="139" y="225"/>
                  </a:cubicBezTo>
                  <a:close/>
                  <a:moveTo>
                    <a:pt x="277" y="138"/>
                  </a:moveTo>
                  <a:cubicBezTo>
                    <a:pt x="277" y="62"/>
                    <a:pt x="215" y="0"/>
                    <a:pt x="139" y="0"/>
                  </a:cubicBezTo>
                  <a:cubicBezTo>
                    <a:pt x="62" y="0"/>
                    <a:pt x="0" y="62"/>
                    <a:pt x="0" y="138"/>
                  </a:cubicBezTo>
                  <a:cubicBezTo>
                    <a:pt x="0" y="215"/>
                    <a:pt x="62" y="277"/>
                    <a:pt x="139" y="277"/>
                  </a:cubicBezTo>
                  <a:cubicBezTo>
                    <a:pt x="215" y="277"/>
                    <a:pt x="277" y="215"/>
                    <a:pt x="277" y="1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1F65406F-AB97-4C9D-8EE1-6AE897D7BE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1048" y="5061682"/>
              <a:ext cx="35504" cy="1888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26" name="Rectangle 16">
              <a:extLst>
                <a:ext uri="{FF2B5EF4-FFF2-40B4-BE49-F238E27FC236}">
                  <a16:creationId xmlns:a16="http://schemas.microsoft.com/office/drawing/2014/main" id="{BF47916C-BF57-4446-8F70-FD040418B1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70761" y="5061682"/>
              <a:ext cx="36580" cy="1888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12B1F7C1-385E-4E69-BDC4-5CE78A26EF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87323" y="5061682"/>
              <a:ext cx="152238" cy="188818"/>
            </a:xfrm>
            <a:custGeom>
              <a:avLst/>
              <a:gdLst>
                <a:gd name="T0" fmla="*/ 0 w 214"/>
                <a:gd name="T1" fmla="*/ 265 h 265"/>
                <a:gd name="T2" fmla="*/ 0 w 214"/>
                <a:gd name="T3" fmla="*/ 0 h 265"/>
                <a:gd name="T4" fmla="*/ 133 w 214"/>
                <a:gd name="T5" fmla="*/ 0 h 265"/>
                <a:gd name="T6" fmla="*/ 208 w 214"/>
                <a:gd name="T7" fmla="*/ 88 h 265"/>
                <a:gd name="T8" fmla="*/ 135 w 214"/>
                <a:gd name="T9" fmla="*/ 176 h 265"/>
                <a:gd name="T10" fmla="*/ 52 w 214"/>
                <a:gd name="T11" fmla="*/ 176 h 265"/>
                <a:gd name="T12" fmla="*/ 52 w 214"/>
                <a:gd name="T13" fmla="*/ 265 h 265"/>
                <a:gd name="T14" fmla="*/ 0 w 214"/>
                <a:gd name="T15" fmla="*/ 265 h 265"/>
                <a:gd name="T16" fmla="*/ 52 w 214"/>
                <a:gd name="T17" fmla="*/ 50 h 265"/>
                <a:gd name="T18" fmla="*/ 52 w 214"/>
                <a:gd name="T19" fmla="*/ 130 h 265"/>
                <a:gd name="T20" fmla="*/ 117 w 214"/>
                <a:gd name="T21" fmla="*/ 130 h 265"/>
                <a:gd name="T22" fmla="*/ 155 w 214"/>
                <a:gd name="T23" fmla="*/ 90 h 265"/>
                <a:gd name="T24" fmla="*/ 122 w 214"/>
                <a:gd name="T25" fmla="*/ 50 h 265"/>
                <a:gd name="T26" fmla="*/ 52 w 214"/>
                <a:gd name="T27" fmla="*/ 5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4" h="265">
                  <a:moveTo>
                    <a:pt x="0" y="2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33" y="0"/>
                    <a:pt x="211" y="10"/>
                    <a:pt x="208" y="88"/>
                  </a:cubicBezTo>
                  <a:cubicBezTo>
                    <a:pt x="208" y="88"/>
                    <a:pt x="214" y="157"/>
                    <a:pt x="135" y="176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265"/>
                    <a:pt x="52" y="265"/>
                    <a:pt x="52" y="265"/>
                  </a:cubicBezTo>
                  <a:lnTo>
                    <a:pt x="0" y="265"/>
                  </a:lnTo>
                  <a:close/>
                  <a:moveTo>
                    <a:pt x="52" y="50"/>
                  </a:moveTo>
                  <a:cubicBezTo>
                    <a:pt x="52" y="130"/>
                    <a:pt x="52" y="130"/>
                    <a:pt x="52" y="130"/>
                  </a:cubicBezTo>
                  <a:cubicBezTo>
                    <a:pt x="117" y="130"/>
                    <a:pt x="117" y="130"/>
                    <a:pt x="117" y="130"/>
                  </a:cubicBezTo>
                  <a:cubicBezTo>
                    <a:pt x="117" y="130"/>
                    <a:pt x="155" y="123"/>
                    <a:pt x="155" y="90"/>
                  </a:cubicBezTo>
                  <a:cubicBezTo>
                    <a:pt x="155" y="90"/>
                    <a:pt x="158" y="51"/>
                    <a:pt x="122" y="50"/>
                  </a:cubicBezTo>
                  <a:lnTo>
                    <a:pt x="52" y="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5A68813E-C634-401E-BD7B-DB5E7C943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60174" y="5061682"/>
              <a:ext cx="157617" cy="188818"/>
            </a:xfrm>
            <a:custGeom>
              <a:avLst/>
              <a:gdLst>
                <a:gd name="T0" fmla="*/ 0 w 221"/>
                <a:gd name="T1" fmla="*/ 0 h 265"/>
                <a:gd name="T2" fmla="*/ 0 w 221"/>
                <a:gd name="T3" fmla="*/ 265 h 265"/>
                <a:gd name="T4" fmla="*/ 53 w 221"/>
                <a:gd name="T5" fmla="*/ 265 h 265"/>
                <a:gd name="T6" fmla="*/ 53 w 221"/>
                <a:gd name="T7" fmla="*/ 155 h 265"/>
                <a:gd name="T8" fmla="*/ 170 w 221"/>
                <a:gd name="T9" fmla="*/ 155 h 265"/>
                <a:gd name="T10" fmla="*/ 170 w 221"/>
                <a:gd name="T11" fmla="*/ 265 h 265"/>
                <a:gd name="T12" fmla="*/ 221 w 221"/>
                <a:gd name="T13" fmla="*/ 265 h 265"/>
                <a:gd name="T14" fmla="*/ 221 w 221"/>
                <a:gd name="T15" fmla="*/ 0 h 265"/>
                <a:gd name="T16" fmla="*/ 187 w 221"/>
                <a:gd name="T17" fmla="*/ 0 h 265"/>
                <a:gd name="T18" fmla="*/ 170 w 221"/>
                <a:gd name="T19" fmla="*/ 18 h 265"/>
                <a:gd name="T20" fmla="*/ 170 w 221"/>
                <a:gd name="T21" fmla="*/ 101 h 265"/>
                <a:gd name="T22" fmla="*/ 51 w 221"/>
                <a:gd name="T23" fmla="*/ 101 h 265"/>
                <a:gd name="T24" fmla="*/ 51 w 221"/>
                <a:gd name="T25" fmla="*/ 0 h 265"/>
                <a:gd name="T26" fmla="*/ 0 w 221"/>
                <a:gd name="T27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1" h="265">
                  <a:moveTo>
                    <a:pt x="0" y="0"/>
                  </a:moveTo>
                  <a:cubicBezTo>
                    <a:pt x="0" y="265"/>
                    <a:pt x="0" y="265"/>
                    <a:pt x="0" y="265"/>
                  </a:cubicBezTo>
                  <a:cubicBezTo>
                    <a:pt x="53" y="265"/>
                    <a:pt x="53" y="265"/>
                    <a:pt x="53" y="265"/>
                  </a:cubicBezTo>
                  <a:cubicBezTo>
                    <a:pt x="53" y="155"/>
                    <a:pt x="53" y="155"/>
                    <a:pt x="53" y="155"/>
                  </a:cubicBezTo>
                  <a:cubicBezTo>
                    <a:pt x="170" y="155"/>
                    <a:pt x="170" y="155"/>
                    <a:pt x="170" y="155"/>
                  </a:cubicBezTo>
                  <a:cubicBezTo>
                    <a:pt x="170" y="265"/>
                    <a:pt x="170" y="265"/>
                    <a:pt x="170" y="265"/>
                  </a:cubicBezTo>
                  <a:cubicBezTo>
                    <a:pt x="221" y="265"/>
                    <a:pt x="221" y="265"/>
                    <a:pt x="221" y="265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87" y="0"/>
                    <a:pt x="170" y="1"/>
                    <a:pt x="170" y="18"/>
                  </a:cubicBezTo>
                  <a:cubicBezTo>
                    <a:pt x="170" y="101"/>
                    <a:pt x="170" y="101"/>
                    <a:pt x="170" y="101"/>
                  </a:cubicBezTo>
                  <a:cubicBezTo>
                    <a:pt x="51" y="101"/>
                    <a:pt x="51" y="101"/>
                    <a:pt x="51" y="101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F21F95AC-7DDF-480D-B5EC-45C97E061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5638" y="5061682"/>
              <a:ext cx="157079" cy="188818"/>
            </a:xfrm>
            <a:custGeom>
              <a:avLst/>
              <a:gdLst>
                <a:gd name="T0" fmla="*/ 0 w 221"/>
                <a:gd name="T1" fmla="*/ 0 h 265"/>
                <a:gd name="T2" fmla="*/ 0 w 221"/>
                <a:gd name="T3" fmla="*/ 265 h 265"/>
                <a:gd name="T4" fmla="*/ 53 w 221"/>
                <a:gd name="T5" fmla="*/ 265 h 265"/>
                <a:gd name="T6" fmla="*/ 53 w 221"/>
                <a:gd name="T7" fmla="*/ 155 h 265"/>
                <a:gd name="T8" fmla="*/ 170 w 221"/>
                <a:gd name="T9" fmla="*/ 155 h 265"/>
                <a:gd name="T10" fmla="*/ 170 w 221"/>
                <a:gd name="T11" fmla="*/ 265 h 265"/>
                <a:gd name="T12" fmla="*/ 221 w 221"/>
                <a:gd name="T13" fmla="*/ 265 h 265"/>
                <a:gd name="T14" fmla="*/ 221 w 221"/>
                <a:gd name="T15" fmla="*/ 0 h 265"/>
                <a:gd name="T16" fmla="*/ 187 w 221"/>
                <a:gd name="T17" fmla="*/ 0 h 265"/>
                <a:gd name="T18" fmla="*/ 170 w 221"/>
                <a:gd name="T19" fmla="*/ 18 h 265"/>
                <a:gd name="T20" fmla="*/ 170 w 221"/>
                <a:gd name="T21" fmla="*/ 101 h 265"/>
                <a:gd name="T22" fmla="*/ 51 w 221"/>
                <a:gd name="T23" fmla="*/ 101 h 265"/>
                <a:gd name="T24" fmla="*/ 51 w 221"/>
                <a:gd name="T25" fmla="*/ 0 h 265"/>
                <a:gd name="T26" fmla="*/ 0 w 221"/>
                <a:gd name="T27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1" h="265">
                  <a:moveTo>
                    <a:pt x="0" y="0"/>
                  </a:moveTo>
                  <a:cubicBezTo>
                    <a:pt x="0" y="265"/>
                    <a:pt x="0" y="265"/>
                    <a:pt x="0" y="265"/>
                  </a:cubicBezTo>
                  <a:cubicBezTo>
                    <a:pt x="53" y="265"/>
                    <a:pt x="53" y="265"/>
                    <a:pt x="53" y="265"/>
                  </a:cubicBezTo>
                  <a:cubicBezTo>
                    <a:pt x="53" y="155"/>
                    <a:pt x="53" y="155"/>
                    <a:pt x="53" y="155"/>
                  </a:cubicBezTo>
                  <a:cubicBezTo>
                    <a:pt x="170" y="155"/>
                    <a:pt x="170" y="155"/>
                    <a:pt x="170" y="155"/>
                  </a:cubicBezTo>
                  <a:cubicBezTo>
                    <a:pt x="170" y="265"/>
                    <a:pt x="170" y="265"/>
                    <a:pt x="170" y="265"/>
                  </a:cubicBezTo>
                  <a:cubicBezTo>
                    <a:pt x="221" y="265"/>
                    <a:pt x="221" y="265"/>
                    <a:pt x="221" y="265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87" y="0"/>
                    <a:pt x="170" y="1"/>
                    <a:pt x="170" y="18"/>
                  </a:cubicBezTo>
                  <a:cubicBezTo>
                    <a:pt x="170" y="101"/>
                    <a:pt x="170" y="101"/>
                    <a:pt x="170" y="101"/>
                  </a:cubicBezTo>
                  <a:cubicBezTo>
                    <a:pt x="51" y="101"/>
                    <a:pt x="51" y="101"/>
                    <a:pt x="51" y="101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BBFB7CF4-4017-43BC-9A8E-66A7982EF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69800" y="4805083"/>
              <a:ext cx="162997" cy="185590"/>
            </a:xfrm>
            <a:custGeom>
              <a:avLst/>
              <a:gdLst>
                <a:gd name="T0" fmla="*/ 0 w 229"/>
                <a:gd name="T1" fmla="*/ 260 h 261"/>
                <a:gd name="T2" fmla="*/ 0 w 229"/>
                <a:gd name="T3" fmla="*/ 0 h 261"/>
                <a:gd name="T4" fmla="*/ 60 w 229"/>
                <a:gd name="T5" fmla="*/ 0 h 261"/>
                <a:gd name="T6" fmla="*/ 79 w 229"/>
                <a:gd name="T7" fmla="*/ 14 h 261"/>
                <a:gd name="T8" fmla="*/ 179 w 229"/>
                <a:gd name="T9" fmla="*/ 179 h 261"/>
                <a:gd name="T10" fmla="*/ 179 w 229"/>
                <a:gd name="T11" fmla="*/ 0 h 261"/>
                <a:gd name="T12" fmla="*/ 229 w 229"/>
                <a:gd name="T13" fmla="*/ 0 h 261"/>
                <a:gd name="T14" fmla="*/ 229 w 229"/>
                <a:gd name="T15" fmla="*/ 260 h 261"/>
                <a:gd name="T16" fmla="*/ 176 w 229"/>
                <a:gd name="T17" fmla="*/ 260 h 261"/>
                <a:gd name="T18" fmla="*/ 158 w 229"/>
                <a:gd name="T19" fmla="*/ 247 h 261"/>
                <a:gd name="T20" fmla="*/ 58 w 229"/>
                <a:gd name="T21" fmla="*/ 82 h 261"/>
                <a:gd name="T22" fmla="*/ 58 w 229"/>
                <a:gd name="T23" fmla="*/ 260 h 261"/>
                <a:gd name="T24" fmla="*/ 0 w 229"/>
                <a:gd name="T25" fmla="*/ 26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61">
                  <a:moveTo>
                    <a:pt x="0" y="26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72" y="2"/>
                    <a:pt x="79" y="14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9" y="260"/>
                    <a:pt x="229" y="260"/>
                    <a:pt x="229" y="260"/>
                  </a:cubicBezTo>
                  <a:cubicBezTo>
                    <a:pt x="176" y="260"/>
                    <a:pt x="176" y="260"/>
                    <a:pt x="176" y="260"/>
                  </a:cubicBezTo>
                  <a:cubicBezTo>
                    <a:pt x="176" y="260"/>
                    <a:pt x="167" y="261"/>
                    <a:pt x="158" y="247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260"/>
                    <a:pt x="58" y="260"/>
                    <a:pt x="58" y="260"/>
                  </a:cubicBezTo>
                  <a:lnTo>
                    <a:pt x="0" y="2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ADEF4D36-AA7E-4BB2-8FB0-67CC8CE55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7657" y="5065447"/>
              <a:ext cx="162997" cy="185590"/>
            </a:xfrm>
            <a:custGeom>
              <a:avLst/>
              <a:gdLst>
                <a:gd name="T0" fmla="*/ 0 w 229"/>
                <a:gd name="T1" fmla="*/ 260 h 261"/>
                <a:gd name="T2" fmla="*/ 0 w 229"/>
                <a:gd name="T3" fmla="*/ 0 h 261"/>
                <a:gd name="T4" fmla="*/ 60 w 229"/>
                <a:gd name="T5" fmla="*/ 0 h 261"/>
                <a:gd name="T6" fmla="*/ 78 w 229"/>
                <a:gd name="T7" fmla="*/ 14 h 261"/>
                <a:gd name="T8" fmla="*/ 178 w 229"/>
                <a:gd name="T9" fmla="*/ 179 h 261"/>
                <a:gd name="T10" fmla="*/ 178 w 229"/>
                <a:gd name="T11" fmla="*/ 0 h 261"/>
                <a:gd name="T12" fmla="*/ 229 w 229"/>
                <a:gd name="T13" fmla="*/ 0 h 261"/>
                <a:gd name="T14" fmla="*/ 229 w 229"/>
                <a:gd name="T15" fmla="*/ 260 h 261"/>
                <a:gd name="T16" fmla="*/ 175 w 229"/>
                <a:gd name="T17" fmla="*/ 260 h 261"/>
                <a:gd name="T18" fmla="*/ 158 w 229"/>
                <a:gd name="T19" fmla="*/ 247 h 261"/>
                <a:gd name="T20" fmla="*/ 57 w 229"/>
                <a:gd name="T21" fmla="*/ 82 h 261"/>
                <a:gd name="T22" fmla="*/ 57 w 229"/>
                <a:gd name="T23" fmla="*/ 260 h 261"/>
                <a:gd name="T24" fmla="*/ 0 w 229"/>
                <a:gd name="T25" fmla="*/ 26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61">
                  <a:moveTo>
                    <a:pt x="0" y="26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72" y="2"/>
                    <a:pt x="78" y="14"/>
                  </a:cubicBezTo>
                  <a:cubicBezTo>
                    <a:pt x="178" y="179"/>
                    <a:pt x="178" y="179"/>
                    <a:pt x="178" y="179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9" y="260"/>
                    <a:pt x="229" y="260"/>
                    <a:pt x="229" y="260"/>
                  </a:cubicBezTo>
                  <a:cubicBezTo>
                    <a:pt x="175" y="260"/>
                    <a:pt x="175" y="260"/>
                    <a:pt x="175" y="260"/>
                  </a:cubicBezTo>
                  <a:cubicBezTo>
                    <a:pt x="175" y="260"/>
                    <a:pt x="166" y="261"/>
                    <a:pt x="158" y="247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260"/>
                    <a:pt x="57" y="260"/>
                    <a:pt x="57" y="260"/>
                  </a:cubicBezTo>
                  <a:lnTo>
                    <a:pt x="0" y="2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6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4107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Layout with Text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0" hasCustomPrompt="1"/>
          </p:nvPr>
        </p:nvSpPr>
        <p:spPr>
          <a:xfrm>
            <a:off x="960968" y="1172634"/>
            <a:ext cx="2351617" cy="3992167"/>
          </a:xfrm>
          <a:prstGeom prst="rect">
            <a:avLst/>
          </a:prstGeom>
        </p:spPr>
        <p:txBody>
          <a:bodyPr lIns="0" tIns="0" rIns="0" bIns="0"/>
          <a:lstStyle>
            <a:lvl1pPr marL="0" indent="0" algn="just">
              <a:spcBef>
                <a:spcPts val="0"/>
              </a:spcBef>
              <a:spcAft>
                <a:spcPts val="0"/>
              </a:spcAft>
              <a:buNone/>
              <a:defRPr lang="en-US" altLang="ko-KR" sz="1067" kern="1200" dirty="0" smtClean="0">
                <a:gradFill>
                  <a:gsLst>
                    <a:gs pos="0">
                      <a:schemeClr val="tx1">
                        <a:alpha val="70000"/>
                      </a:schemeClr>
                    </a:gs>
                    <a:gs pos="100000">
                      <a:schemeClr val="tx1">
                        <a:alpha val="70000"/>
                      </a:schemeClr>
                    </a:gs>
                  </a:gsLst>
                  <a:lin ang="5400000" scaled="0"/>
                </a:gradFill>
                <a:latin typeface="Roboto Condensed Light"/>
                <a:ea typeface="Roboto Condensed Regular"/>
                <a:cs typeface="Roboto Condensed Regular"/>
              </a:defRPr>
            </a:lvl1pPr>
            <a:lvl2pPr marL="609585" indent="0">
              <a:buNone/>
              <a:defRPr lang="ko-KR" altLang="en-US" sz="1067" kern="1200" dirty="0" smtClean="0">
                <a:gradFill flip="none" rotWithShape="1">
                  <a:gsLst>
                    <a:gs pos="0">
                      <a:srgbClr val="2F3540"/>
                    </a:gs>
                    <a:gs pos="100000">
                      <a:srgbClr val="2F3540"/>
                    </a:gs>
                  </a:gsLst>
                  <a:lin ang="0" scaled="1"/>
                  <a:tileRect/>
                </a:gradFill>
                <a:latin typeface="Roboto Condensed Light"/>
                <a:ea typeface="+mn-ea"/>
                <a:cs typeface="+mn-cs"/>
              </a:defRPr>
            </a:lvl2pPr>
            <a:lvl3pPr marL="1219170" indent="0">
              <a:buNone/>
              <a:defRPr lang="ko-KR" altLang="en-US" sz="1067" kern="1200" dirty="0" smtClean="0">
                <a:gradFill flip="none" rotWithShape="1">
                  <a:gsLst>
                    <a:gs pos="0">
                      <a:srgbClr val="2F3540"/>
                    </a:gs>
                    <a:gs pos="100000">
                      <a:srgbClr val="2F3540"/>
                    </a:gs>
                  </a:gsLst>
                  <a:lin ang="0" scaled="1"/>
                  <a:tileRect/>
                </a:gradFill>
                <a:latin typeface="Roboto Condensed Light"/>
                <a:ea typeface="+mn-ea"/>
                <a:cs typeface="+mn-cs"/>
              </a:defRPr>
            </a:lvl3pPr>
            <a:lvl4pPr marL="1828754" indent="0">
              <a:buNone/>
              <a:defRPr lang="ko-KR" altLang="en-US" sz="1067" kern="1200" dirty="0" smtClean="0">
                <a:gradFill flip="none" rotWithShape="1">
                  <a:gsLst>
                    <a:gs pos="0">
                      <a:srgbClr val="2F3540"/>
                    </a:gs>
                    <a:gs pos="100000">
                      <a:srgbClr val="2F3540"/>
                    </a:gs>
                  </a:gsLst>
                  <a:lin ang="0" scaled="1"/>
                  <a:tileRect/>
                </a:gradFill>
                <a:latin typeface="Roboto Condensed Light"/>
                <a:ea typeface="+mn-ea"/>
                <a:cs typeface="+mn-cs"/>
              </a:defRPr>
            </a:lvl4pPr>
            <a:lvl5pPr marL="2438339" indent="0">
              <a:buNone/>
              <a:defRPr lang="ko-KR" altLang="en-US" sz="1067" kern="1200" dirty="0" smtClean="0">
                <a:gradFill flip="none" rotWithShape="1">
                  <a:gsLst>
                    <a:gs pos="0">
                      <a:srgbClr val="2F3540"/>
                    </a:gs>
                    <a:gs pos="100000">
                      <a:srgbClr val="2F3540"/>
                    </a:gs>
                  </a:gsLst>
                  <a:lin ang="0" scaled="1"/>
                  <a:tileRect/>
                </a:gradFill>
                <a:latin typeface="Roboto Condensed Light"/>
                <a:ea typeface="+mn-ea"/>
                <a:cs typeface="+mn-cs"/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513065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BC48782D-A256-F7A2-22B3-A9EFAABB1D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BE9A77B-6163-C88D-FBC1-D45B0B1F4A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173360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5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1F8C5B-9965-A046-A97E-FDBA7CCCD3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73182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br>
              <a:rPr lang="es-ES"/>
            </a:b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524147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br>
              <a:rPr lang="es-ES"/>
            </a:b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6207AD5-9630-A049-7539-5D19979119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1557338"/>
            <a:ext cx="11341100" cy="4608512"/>
          </a:xfrm>
        </p:spPr>
        <p:txBody>
          <a:bodyPr/>
          <a:lstStyle>
            <a:lvl2pPr marL="444500" indent="-209550">
              <a:defRPr/>
            </a:lvl2pPr>
            <a:lvl3pPr marL="661988" indent="-227013">
              <a:defRPr/>
            </a:lvl3pPr>
            <a:lvl4pPr marL="871538" indent="-209550">
              <a:defRPr/>
            </a:lvl4pPr>
            <a:lvl5pPr marL="1096963" indent="-225425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7387002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BC48782D-A256-F7A2-22B3-A9EFAABB1D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BE9A77B-6163-C88D-FBC1-D45B0B1F4A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1911432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br>
              <a:rPr lang="es-ES"/>
            </a:b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038105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br>
              <a:rPr lang="es-ES"/>
            </a:br>
            <a:endParaRPr lang="es-CL"/>
          </a:p>
        </p:txBody>
      </p:sp>
      <p:sp>
        <p:nvSpPr>
          <p:cNvPr id="11" name="Marcador de texto 3">
            <a:extLst>
              <a:ext uri="{FF2B5EF4-FFF2-40B4-BE49-F238E27FC236}">
                <a16:creationId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6666758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 hangingPunct="0">
              <a:buFont typeface="Wingdings" panose="05000000000000000000" pitchFamily="2" charset="2"/>
              <a:buChar char="§"/>
            </a:pPr>
            <a:endParaRPr lang="en-US" sz="1000" err="1">
              <a:solidFill>
                <a:prstClr val="white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5BF45"/>
            </a:solidFill>
            <a:prstDash val="solid"/>
            <a:miter lim="400000"/>
          </a:ln>
          <a:effectLst/>
          <a:sp3d/>
        </p:spPr>
      </p:cxnSp>
    </p:spTree>
    <p:extLst>
      <p:ext uri="{BB962C8B-B14F-4D97-AF65-F5344CB8AC3E}">
        <p14:creationId xmlns:p14="http://schemas.microsoft.com/office/powerpoint/2010/main" val="299634526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 hangingPunct="0">
              <a:buFont typeface="Wingdings" panose="05000000000000000000" pitchFamily="2" charset="2"/>
              <a:buChar char="§"/>
            </a:pPr>
            <a:endParaRPr lang="en-US" sz="1000" err="1">
              <a:solidFill>
                <a:prstClr val="white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5BF45"/>
            </a:solidFill>
            <a:prstDash val="solid"/>
            <a:miter lim="400000"/>
          </a:ln>
          <a:effectLst/>
          <a:sp3d/>
        </p:spPr>
      </p:cxnSp>
    </p:spTree>
    <p:extLst>
      <p:ext uri="{BB962C8B-B14F-4D97-AF65-F5344CB8AC3E}">
        <p14:creationId xmlns:p14="http://schemas.microsoft.com/office/powerpoint/2010/main" val="50532776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 hangingPunct="0">
              <a:buFont typeface="Wingdings" panose="05000000000000000000" pitchFamily="2" charset="2"/>
              <a:buChar char="§"/>
            </a:pPr>
            <a:endParaRPr lang="en-US" sz="1000" err="1">
              <a:solidFill>
                <a:prstClr val="white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5BF45"/>
            </a:solidFill>
            <a:prstDash val="solid"/>
            <a:miter lim="400000"/>
          </a:ln>
          <a:effectLst/>
          <a:sp3d/>
        </p:spPr>
      </p:cxnSp>
    </p:spTree>
    <p:extLst>
      <p:ext uri="{BB962C8B-B14F-4D97-AF65-F5344CB8AC3E}">
        <p14:creationId xmlns:p14="http://schemas.microsoft.com/office/powerpoint/2010/main" val="85029212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 hangingPunct="0">
              <a:buFont typeface="Wingdings" panose="05000000000000000000" pitchFamily="2" charset="2"/>
              <a:buChar char="§"/>
            </a:pPr>
            <a:endParaRPr lang="en-US" sz="1000" err="1">
              <a:solidFill>
                <a:prstClr val="white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8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5BF45"/>
            </a:solidFill>
            <a:prstDash val="solid"/>
            <a:miter lim="400000"/>
          </a:ln>
          <a:effectLst/>
          <a:sp3d/>
        </p:spPr>
      </p:cxnSp>
    </p:spTree>
    <p:extLst>
      <p:ext uri="{BB962C8B-B14F-4D97-AF65-F5344CB8AC3E}">
        <p14:creationId xmlns:p14="http://schemas.microsoft.com/office/powerpoint/2010/main" val="16454028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7551" y="427088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7064697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6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085F184B-7A45-C949-B980-D29A2B6FD5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17343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40619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0620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192088" indent="-192088">
              <a:buFont typeface="Arial" panose="020B0604020202020204" pitchFamily="34" charset="0"/>
              <a:buChar char="•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68507234-1B30-55FD-5CAF-05D8D869C2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79502" y="385812"/>
            <a:ext cx="505442" cy="505442"/>
          </a:xfrm>
          <a:prstGeom prst="rect">
            <a:avLst/>
          </a:prstGeom>
        </p:spPr>
      </p:pic>
      <p:sp>
        <p:nvSpPr>
          <p:cNvPr id="9" name="Título 8">
            <a:extLst>
              <a:ext uri="{FF2B5EF4-FFF2-40B4-BE49-F238E27FC236}">
                <a16:creationId xmlns:a16="http://schemas.microsoft.com/office/drawing/2014/main" id="{E4945A70-3CC1-30BE-FEDB-E46736A59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7" name="Subtítulo 2">
            <a:extLst>
              <a:ext uri="{FF2B5EF4-FFF2-40B4-BE49-F238E27FC236}">
                <a16:creationId xmlns:a16="http://schemas.microsoft.com/office/drawing/2014/main" id="{4515C2E5-FAF0-EA40-6643-F8742AD31B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13" name="Marcador de pie de página 12">
            <a:extLst>
              <a:ext uri="{FF2B5EF4-FFF2-40B4-BE49-F238E27FC236}">
                <a16:creationId xmlns:a16="http://schemas.microsoft.com/office/drawing/2014/main" id="{E3A8FB8D-91F4-57F3-2478-7AD66F1AC3B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4" name="Marcador de número de diapositiva 13">
            <a:extLst>
              <a:ext uri="{FF2B5EF4-FFF2-40B4-BE49-F238E27FC236}">
                <a16:creationId xmlns:a16="http://schemas.microsoft.com/office/drawing/2014/main" id="{1EC852CA-CCEF-6447-9B99-75D983CB373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2484197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2F3B9715-D07F-3864-81AC-DFB139F00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3258BAC-810B-C764-8E58-DB47E4CB54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40619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42ECFC8D-9E4C-1277-A15B-B59DBD28B8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0620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200025" indent="-200025">
              <a:buFont typeface="Arial" panose="020B0604020202020204" pitchFamily="34" charset="0"/>
              <a:buChar char="•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1B1CAFB1-ACE5-9151-00DA-D0E3222E69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79502" y="385812"/>
            <a:ext cx="505442" cy="505442"/>
          </a:xfrm>
          <a:prstGeom prst="rect">
            <a:avLst/>
          </a:prstGeom>
        </p:spPr>
      </p:pic>
      <p:sp>
        <p:nvSpPr>
          <p:cNvPr id="20" name="Subtítulo 2">
            <a:extLst>
              <a:ext uri="{FF2B5EF4-FFF2-40B4-BE49-F238E27FC236}">
                <a16:creationId xmlns:a16="http://schemas.microsoft.com/office/drawing/2014/main" id="{46DA7DB3-F2BD-15F8-B6BA-108CEF907C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E72379A3-0795-8C95-3569-75D6046CC381}"/>
              </a:ext>
            </a:extLst>
          </p:cNvPr>
          <p:cNvSpPr>
            <a:spLocks noGrp="1"/>
          </p:cNvSpPr>
          <p:nvPr>
            <p:ph type="ftr" sz="quarter" idx="69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AECDBB82-611C-A4ED-E105-EE96E9E8EAD7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4249238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A6585990-3747-324F-0060-32ED55A50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A6585990-3747-324F-0060-32ED55A50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7A72492-A9F9-DCA1-C950-ACF0B0856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4502BE2A-23D2-E8AA-094B-85304AE07A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A27CC55-5AD2-F6C7-DB05-AAE2EC87ED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477D22C-C3AA-30C5-EA7C-FDEE5D4A872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203218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8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B94836DB-A449-5E5A-4EA3-690CF44CF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B94836DB-A449-5E5A-4EA3-690CF44CFB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778E4AE-1610-C062-F7EC-A41B30388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B31A843B-023E-04B5-0A32-E5F49E45D4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DF24D4B-EE68-9E43-FD0D-0CBAFC46C39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EFE3CAC-B072-7DF5-2213-B5C6A76B873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664960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  <p15:guide id="6" orient="horz" pos="66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>
            <a:solidFill>
              <a:srgbClr val="004C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>
            <a:solidFill>
              <a:srgbClr val="004C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arcador de pie de página 2"/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7256628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07">
          <p15:clr>
            <a:srgbClr val="FBAE40"/>
          </p15:clr>
        </p15:guide>
        <p15:guide id="6" orient="horz" pos="2160">
          <p15:clr>
            <a:srgbClr val="FBAE40"/>
          </p15:clr>
        </p15:guide>
        <p15:guide id="7" orient="horz" pos="1139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2FA59587-C40F-764A-A535-75B82EC5D5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711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</a:t>
            </a:r>
          </a:p>
          <a:p>
            <a:pPr lvl="0"/>
            <a:r>
              <a:rPr lang="es-ES"/>
              <a:t>Arial</a:t>
            </a:r>
            <a:endParaRPr lang="es-CL"/>
          </a:p>
        </p:txBody>
      </p:sp>
      <p:pic>
        <p:nvPicPr>
          <p:cNvPr id="9" name="Picture 3" descr="Logo, icon&#10;&#10;Description automatically generated">
            <a:extLst>
              <a:ext uri="{FF2B5EF4-FFF2-40B4-BE49-F238E27FC236}">
                <a16:creationId xmlns:a16="http://schemas.microsoft.com/office/drawing/2014/main" id="{63AA16C5-C98E-8C4D-A2A9-003BC6F882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453159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5010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5DF0D78-7237-CC49-93BC-EC074FFED20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8973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378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 Bold 40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EA4FDC7-72CD-784D-9C11-47862713BB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1465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9" orient="horz" pos="4320">
          <p15:clr>
            <a:srgbClr val="FBAE40"/>
          </p15:clr>
        </p15:guide>
        <p15:guide id="10" orient="horz" pos="1207">
          <p15:clr>
            <a:srgbClr val="FBAE40"/>
          </p15:clr>
        </p15:guide>
        <p15:guide id="11" orient="horz" pos="1830">
          <p15:clr>
            <a:srgbClr val="FBAE40"/>
          </p15:clr>
        </p15:guide>
        <p15:guide id="12" orient="horz" pos="2436">
          <p15:clr>
            <a:srgbClr val="FBAE40"/>
          </p15:clr>
        </p15:guide>
        <p15:guide id="13" orient="horz" pos="3042">
          <p15:clr>
            <a:srgbClr val="FBAE40"/>
          </p15:clr>
        </p15:guide>
        <p15:guide id="14" orient="horz" pos="364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9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2138966D-1F3D-0344-9C02-3EEFCDE894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70170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0BE6EBC1-E695-204F-98E3-E9C5BD31E0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07364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D59D1EF-1CFD-7CE4-757B-902A48A9D3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556" y="1909263"/>
            <a:ext cx="3039474" cy="3039474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34533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3550891-D39A-A143-898C-7E50563D78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93513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554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9CE0B7-CDEF-C845-A8D3-8FB02D9EC1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A7761A4-98A5-5561-9E50-05AA8DD791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51447957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9CE0B7-CDEF-C845-A8D3-8FB02D9EC1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4CB9BDF6-E23B-0F23-BDE7-8AC1FE19A22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3502701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BD6B223-A8C8-CD47-AB69-8DA2077761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534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10" name="Picture 3" descr="Logo, icon&#10;&#10;Description automatically generated">
            <a:extLst>
              <a:ext uri="{FF2B5EF4-FFF2-40B4-BE49-F238E27FC236}">
                <a16:creationId xmlns:a16="http://schemas.microsoft.com/office/drawing/2014/main" id="{FCF019C9-D671-B74B-A0EB-E5982E9016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3490" y="452438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12554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076701-9C11-334C-B6A2-D5ECA7FAD4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48278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A6EF60F-DAA2-274A-B1D7-50C259B56F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15092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3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D03CAAF-D452-564D-9236-B03691D6D8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79741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63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</a:t>
            </a:r>
            <a:r>
              <a:rPr lang="es-ES" err="1"/>
              <a:t>Achs</a:t>
            </a:r>
            <a:r>
              <a:rPr lang="es-ES"/>
              <a:t> Nueva Sans 9</a:t>
            </a:r>
          </a:p>
          <a:p>
            <a:pPr lvl="0"/>
            <a:r>
              <a:rPr lang="es-CL"/>
              <a:t>Texto secundario fuente </a:t>
            </a:r>
            <a:r>
              <a:rPr lang="es-ES" err="1"/>
              <a:t>Achs</a:t>
            </a:r>
            <a:r>
              <a:rPr lang="es-ES"/>
              <a:t> Nueva Sans</a:t>
            </a:r>
            <a:r>
              <a:rPr lang="es-CL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2CA64D6-177B-5D4B-8F00-7E0C166F899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064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5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3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BA1EC4-C146-034C-AB5F-C136BE2456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502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546">
          <p15:clr>
            <a:srgbClr val="FBAE40"/>
          </p15:clr>
        </p15:guide>
        <p15:guide id="5" orient="horz" pos="3816">
          <p15:clr>
            <a:srgbClr val="FBAE40"/>
          </p15:clr>
        </p15:guide>
        <p15:guide id="6" pos="150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420868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3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CD297A-0016-5148-89C8-7754DCB3F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7478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9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3F7203E-E9C3-3A40-A9A8-FE28BD3B7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9690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3F7203E-E9C3-3A40-A9A8-FE28BD3B7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4942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4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8A59D04-3648-C04F-8164-FB93D96726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3698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Insertar gráfico o carta </a:t>
            </a:r>
            <a:r>
              <a:rPr lang="es-ES" err="1"/>
              <a:t>gantt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243867B-45ED-D74E-A72A-1D25712F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354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FF98DFB-CAAE-7840-A87F-31B1C0E8EB6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3502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6AB60DA-64F5-1A46-94B5-3F7C9FBD8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42163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3" pos="5632">
          <p15:clr>
            <a:srgbClr val="FBAE40"/>
          </p15:clr>
        </p15:guide>
        <p15:guide id="4" pos="3840">
          <p15:clr>
            <a:srgbClr val="FBAE40"/>
          </p15:clr>
        </p15:guide>
        <p15:guide id="5" pos="204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FDAD75A-4AFF-B042-947D-6A34EE5910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3524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8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23DD1B-C850-FC4E-A162-11506FBB60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22678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7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  <p15:guide id="7" orient="horz" pos="66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4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CAA3290-62EB-4747-B24D-6AF0864E9D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2284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01DFDF-AC84-A04D-8DD7-06CCAFE9E30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238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2A3B4A8-6FC2-2347-9FEF-C4905B1178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85457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360603402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376BE6D-46AC-594A-874A-D02C912E2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629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5A0B344E-CE26-794F-BD77-4E847AAA33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20096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F88C546-AF68-504C-91D6-E65575A451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20808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F88C546-AF68-504C-91D6-E65575A451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A63FF85A-4EF7-C75B-5D58-5471BE77452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0420031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6C52706E-14A9-5C4D-854E-25F178F7DAC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197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D404D2-9A20-0B4A-978D-2FBB703A25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96577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1">
            <a:extLst>
              <a:ext uri="{FF2B5EF4-FFF2-40B4-BE49-F238E27FC236}">
                <a16:creationId xmlns:a16="http://schemas.microsoft.com/office/drawing/2014/main" id="{9043CB37-909C-0C4A-9439-412EE23285D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3301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D6A4802-38CB-5741-8B5A-ED274E6A04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00308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B08654A9-524A-2A45-A387-B1D3579C47C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302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704550B-0543-9445-9114-18584FD1BA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24121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Picture 7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7233319F-5936-7CB4-0101-DF03B2752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002" y="5428821"/>
            <a:ext cx="512822" cy="512822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01296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, icon&#10;&#10;Description automatically generated">
            <a:extLst>
              <a:ext uri="{FF2B5EF4-FFF2-40B4-BE49-F238E27FC236}">
                <a16:creationId xmlns:a16="http://schemas.microsoft.com/office/drawing/2014/main" id="{5601C5B0-498B-0F94-C22B-57E123A29F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797" y="2677886"/>
            <a:ext cx="864004" cy="864004"/>
          </a:xfrm>
          <a:prstGeom prst="rect">
            <a:avLst/>
          </a:prstGeom>
        </p:spPr>
      </p:pic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328878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ítulo 1">
            <a:extLst>
              <a:ext uri="{FF2B5EF4-FFF2-40B4-BE49-F238E27FC236}">
                <a16:creationId xmlns:a16="http://schemas.microsoft.com/office/drawing/2014/main" id="{C27C4B29-5681-F840-AF4C-B53B095E2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8"/>
            <a:ext cx="3528717" cy="55399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3ED58160-D295-014E-8B1D-93C7813A7A43}"/>
              </a:ext>
            </a:extLst>
          </p:cNvPr>
          <p:cNvCxnSpPr>
            <a:cxnSpLocks/>
          </p:cNvCxnSpPr>
          <p:nvPr userDrawn="1"/>
        </p:nvCxnSpPr>
        <p:spPr>
          <a:xfrm>
            <a:off x="539893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Marcador de número de diapositiva 1">
            <a:extLst>
              <a:ext uri="{FF2B5EF4-FFF2-40B4-BE49-F238E27FC236}">
                <a16:creationId xmlns:a16="http://schemas.microsoft.com/office/drawing/2014/main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0980" y="6463752"/>
            <a:ext cx="184416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80BC0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>
              <a:solidFill>
                <a:srgbClr val="80BC0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67098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07">
          <p15:clr>
            <a:srgbClr val="FBAE40"/>
          </p15:clr>
        </p15:guide>
        <p15:guide id="6" orient="horz" pos="2160">
          <p15:clr>
            <a:srgbClr val="FBAE40"/>
          </p15:clr>
        </p15:guide>
        <p15:guide id="7" orient="horz" pos="1139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6EA5E9A-28A3-F8E1-6B4C-051C45579F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179" y="2678505"/>
            <a:ext cx="864004" cy="864004"/>
          </a:xfrm>
          <a:prstGeom prst="rect">
            <a:avLst/>
          </a:prstGeom>
        </p:spPr>
      </p:pic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sociación Chilena de Seguridad…">
            <a:extLst>
              <a:ext uri="{FF2B5EF4-FFF2-40B4-BE49-F238E27FC236}">
                <a16:creationId xmlns:a16="http://schemas.microsoft.com/office/drawing/2014/main" id="{AEDD9A90-5563-77E0-D9BB-5FBED01B8E93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114978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D59D1EF-1CFD-7CE4-757B-902A48A9D3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556" y="1909263"/>
            <a:ext cx="3039474" cy="3039474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509536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/>
              <a:t>Título presentación Máximo 3 líneas   </a:t>
            </a:r>
            <a:br>
              <a:rPr lang="es-ES_tradnl"/>
            </a:br>
            <a:r>
              <a:rPr lang="es-ES_tradnl"/>
              <a:t>Arial Bold - 30 puntos 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E0E64B7B-824E-45C7-8A79-D2A3C93F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0835" y="407974"/>
            <a:ext cx="794926" cy="79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21237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ción de imagen 3"/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1056459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endParaRPr lang="es-CL"/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94936" y="6307024"/>
            <a:ext cx="103966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u="none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pic>
        <p:nvPicPr>
          <p:cNvPr id="33" name="Gráfico 32">
            <a:extLst>
              <a:ext uri="{FF2B5EF4-FFF2-40B4-BE49-F238E27FC236}">
                <a16:creationId xmlns:a16="http://schemas.microsoft.com/office/drawing/2014/main" id="{6CF54AB5-5CDD-4A62-ADC2-813B593022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80835" y="407974"/>
            <a:ext cx="794926" cy="794926"/>
          </a:xfrm>
          <a:prstGeom prst="rect">
            <a:avLst/>
          </a:prstGeom>
        </p:spPr>
      </p:pic>
      <p:sp>
        <p:nvSpPr>
          <p:cNvPr id="35" name="Marcador de texto 7">
            <a:extLst>
              <a:ext uri="{FF2B5EF4-FFF2-40B4-BE49-F238E27FC236}">
                <a16:creationId xmlns:a16="http://schemas.microsoft.com/office/drawing/2014/main" id="{D7DF378A-026C-4225-AFB3-233ADAFEB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4085" y="4957143"/>
            <a:ext cx="4989786" cy="1143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</a:t>
            </a:r>
            <a:br>
              <a:rPr lang="es-ES"/>
            </a:br>
            <a:r>
              <a:rPr lang="es-ES"/>
              <a:t>Arial Bold - 30 puntos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89724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563" y="1881407"/>
            <a:ext cx="9656127" cy="30951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</a:t>
            </a:r>
          </a:p>
          <a:p>
            <a:pPr lvl="0"/>
            <a:r>
              <a:rPr lang="es-ES"/>
              <a:t>Arial Bold - 60 puntos</a:t>
            </a:r>
            <a:endParaRPr lang="es-CL"/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790B91A6-B19B-4338-B32C-204033D1C89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6563" y="435255"/>
            <a:ext cx="794926" cy="794926"/>
          </a:xfrm>
          <a:prstGeom prst="rect">
            <a:avLst/>
          </a:prstGeom>
        </p:spPr>
      </p:pic>
      <p:pic>
        <p:nvPicPr>
          <p:cNvPr id="7" name="Gráfico 6">
            <a:extLst>
              <a:ext uri="{FF2B5EF4-FFF2-40B4-BE49-F238E27FC236}">
                <a16:creationId xmlns:a16="http://schemas.microsoft.com/office/drawing/2014/main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790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9416" y="4270382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8439" y="2883870"/>
            <a:ext cx="5361957" cy="10902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600" b="1">
                <a:solidFill>
                  <a:schemeClr val="accent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</a:t>
            </a:r>
          </a:p>
          <a:p>
            <a:pPr lvl="0"/>
            <a:r>
              <a:rPr lang="es-ES"/>
              <a:t>Máximo 3 líneas</a:t>
            </a:r>
          </a:p>
          <a:p>
            <a:pPr lvl="0"/>
            <a:r>
              <a:rPr lang="es-ES"/>
              <a:t>Arial Bold - 30 puntos</a:t>
            </a:r>
            <a:endParaRPr lang="es-CL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5C17D8F-4DBB-4897-A1E7-908E4CF29E3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2661" y="2883870"/>
            <a:ext cx="1090259" cy="1090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37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9F1067A-393F-C14C-A7D1-2C519C0729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2E49441A-6793-7340-9C48-FCF8506D57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756906" y="0"/>
            <a:ext cx="769138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685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ierre_cas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, icon&#10;&#10;Description automatically generated">
            <a:extLst>
              <a:ext uri="{FF2B5EF4-FFF2-40B4-BE49-F238E27FC236}">
                <a16:creationId xmlns:a16="http://schemas.microsoft.com/office/drawing/2014/main" id="{5601C5B0-498B-0F94-C22B-57E123A29F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98" y="2677886"/>
            <a:ext cx="864004" cy="864004"/>
          </a:xfrm>
          <a:prstGeom prst="rect">
            <a:avLst/>
          </a:prstGeom>
        </p:spPr>
      </p:pic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0668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3234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erre gr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20ACD1DF-001D-456E-AE1B-B9E0005242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79392" y="2512391"/>
            <a:ext cx="1833217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89865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tivos 3 punto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19978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5A7A9B33-7B66-F8F4-1825-E799862F44D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13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078A7227-1E7F-93CB-20FF-69CD61521B4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701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F88C546-AF68-504C-91D6-E65575A451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5" name="Círculo">
            <a:extLst>
              <a:ext uri="{FF2B5EF4-FFF2-40B4-BE49-F238E27FC236}">
                <a16:creationId xmlns:a16="http://schemas.microsoft.com/office/drawing/2014/main" id="{BAD3C91F-24C9-937E-CAD8-008A6BCF7E99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:a16="http://schemas.microsoft.com/office/drawing/2014/main" id="{BECB94EE-2021-766E-66DF-A02E74D7DA1A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id="{784DA957-7346-8A14-74C3-09C332D9867D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id="{41935EE7-2010-DB0E-6C3A-AC90D27A85D5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id="{47C14BBD-5910-AA0B-FA10-89E9320D26CE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id="{426E49CE-8D77-9EFE-34DD-2EB4C78A08C7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id="{1D172806-E0A8-B922-23CD-E04F500955B5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AA27AEF8-B9C0-93A0-8845-A752493B5842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EF9FAB4C-032F-599C-A2B8-4AF8DBF26325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C99CA4D3-9B09-FFC7-2982-9EB313F7B3E9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id="{E87D6726-AA9A-125F-35D7-F17ABD668B3B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id="{46669984-4816-DF96-05FD-DB4F32E1D237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6462527A-413E-08BC-6BAB-21B40FFBE75A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FE35DD19-B896-8C7A-4898-D82BF4A072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5AAD42C7-87BE-7D94-14EB-F1545A69600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7" name="Conector recto 18">
            <a:extLst>
              <a:ext uri="{FF2B5EF4-FFF2-40B4-BE49-F238E27FC236}">
                <a16:creationId xmlns:a16="http://schemas.microsoft.com/office/drawing/2014/main" id="{6667497B-9063-9825-D66C-FAFB83A4B7C8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D8D87479-B62F-508C-CDEC-C459FACFB58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29" name="Marcador de número de diapositiva 1">
            <a:extLst>
              <a:ext uri="{FF2B5EF4-FFF2-40B4-BE49-F238E27FC236}">
                <a16:creationId xmlns:a16="http://schemas.microsoft.com/office/drawing/2014/main" id="{4A8CA278-5EA4-F2D1-645A-2841FE908A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09187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01DFDF-AC84-A04D-8DD7-06CCAFE9E30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3203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ulo, sub titulo y logo fondo ver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0BCCFCC-D2EB-2962-E5C9-046D91D7A5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F109880A-CB05-347E-E511-2F751EBD7F6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61A478A7-0CFF-F700-1E85-CDFF6A901E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1" name="Conector recto 18">
            <a:extLst>
              <a:ext uri="{FF2B5EF4-FFF2-40B4-BE49-F238E27FC236}">
                <a16:creationId xmlns:a16="http://schemas.microsoft.com/office/drawing/2014/main" id="{812A72C3-C9A9-E606-F6DF-00745BC89A7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C9EB626A-0D03-D2F5-8C37-47680A25E53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27850062-C894-E4E5-8E80-9ADDB773FBC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756791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ranja 1/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err="1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033788F-3D1F-10D4-C100-548707E5EE5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3786BB16-FA41-AC65-C885-9A8FB6C758D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6382512-0069-794B-DEBB-C91616EACF7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3" name="Conector recto 18">
            <a:extLst>
              <a:ext uri="{FF2B5EF4-FFF2-40B4-BE49-F238E27FC236}">
                <a16:creationId xmlns:a16="http://schemas.microsoft.com/office/drawing/2014/main" id="{4F317D3C-D32E-69EF-1A25-29DD985B8D6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E66F47F-72C7-BAE4-A47A-FB881F895DC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5" name="Marcador de número de diapositiva 1">
            <a:extLst>
              <a:ext uri="{FF2B5EF4-FFF2-40B4-BE49-F238E27FC236}">
                <a16:creationId xmlns:a16="http://schemas.microsoft.com/office/drawing/2014/main" id="{54856A64-3944-D063-A51A-843A25CACD1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1234571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653" y="1589782"/>
            <a:ext cx="1403474" cy="8885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3" y="3199250"/>
            <a:ext cx="1403474" cy="8885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9653" y="4808718"/>
            <a:ext cx="1403474" cy="8885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pic>
        <p:nvPicPr>
          <p:cNvPr id="6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D30E123-2740-3A75-C495-094296A7E83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37B02FF4-1CC2-6930-75C4-A651A55FB8B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2143CDB6-B98E-05F9-3EBF-F933C81D0B4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2" name="Conector recto 18">
            <a:extLst>
              <a:ext uri="{FF2B5EF4-FFF2-40B4-BE49-F238E27FC236}">
                <a16:creationId xmlns:a16="http://schemas.microsoft.com/office/drawing/2014/main" id="{69AABA29-A0FB-B3D6-B97D-3692F28AB73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9E9C22AF-E388-556C-4E40-782807F42A9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id="{5C50D126-ACFF-8254-BC9B-5257DAE7AAB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93342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2FA59587-C40F-764A-A535-75B82EC5D5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30566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5385FAF-A031-8440-8C16-F780239B6EE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0304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</a:t>
            </a:r>
          </a:p>
          <a:p>
            <a:pPr lvl="0"/>
            <a:r>
              <a:rPr lang="es-ES"/>
              <a:t>Arial</a:t>
            </a:r>
            <a:endParaRPr lang="es-CL"/>
          </a:p>
        </p:txBody>
      </p:sp>
      <p:pic>
        <p:nvPicPr>
          <p:cNvPr id="9" name="Picture 3" descr="Logo, icon&#10;&#10;Description automatically generated">
            <a:extLst>
              <a:ext uri="{FF2B5EF4-FFF2-40B4-BE49-F238E27FC236}">
                <a16:creationId xmlns:a16="http://schemas.microsoft.com/office/drawing/2014/main" id="{63AA16C5-C98E-8C4D-A2A9-003BC6F882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453159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7318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B788E7B-AE0C-2C9C-C139-668E6DB9043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9242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5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1F8C5B-9965-A046-A97E-FDBA7CCCD3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88685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3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036499C4-2427-DFE6-33BC-DE9B1433C68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5860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pic>
        <p:nvPicPr>
          <p:cNvPr id="20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0BE6EBC1-E695-204F-98E3-E9C5BD31E0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C20CA86-F074-C6D1-BC61-7798C436550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A20A8589-3519-293C-A48A-8B4FB38713A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1" name="Conector recto 18">
            <a:extLst>
              <a:ext uri="{FF2B5EF4-FFF2-40B4-BE49-F238E27FC236}">
                <a16:creationId xmlns:a16="http://schemas.microsoft.com/office/drawing/2014/main" id="{F8A3B45B-409F-74C2-9E8D-02F5B275BE5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9D7B7004-52BB-B5F0-4E28-4F86D8D4781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08EA6602-AC03-7B3E-9195-835BCBF5F9C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919108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9CE0B7-CDEF-C845-A8D3-8FB02D9EC1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C2D7DCA7-96D7-D063-ACE6-DF2D1E9507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 err="1"/>
              <a:t>Sub-bullet</a:t>
            </a:r>
            <a:r>
              <a:rPr lang="es-ES"/>
              <a:t> Arial 14</a:t>
            </a:r>
          </a:p>
          <a:p>
            <a:pPr lvl="3"/>
            <a:r>
              <a:rPr lang="es-ES" err="1"/>
              <a:t>Sub-bullet</a:t>
            </a:r>
            <a:r>
              <a:rPr lang="es-ES"/>
              <a:t> Arial 14</a:t>
            </a:r>
          </a:p>
          <a:p>
            <a:pPr lvl="4"/>
            <a:r>
              <a:rPr lang="es-ES" err="1"/>
              <a:t>Sub-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3603053A-D5BF-3B9A-B0ED-D429A75D4DE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1687B85-4EF0-C05F-9FD5-B525E9A8E42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1" name="Conector recto 18">
            <a:extLst>
              <a:ext uri="{FF2B5EF4-FFF2-40B4-BE49-F238E27FC236}">
                <a16:creationId xmlns:a16="http://schemas.microsoft.com/office/drawing/2014/main" id="{BA05BC5D-A2C6-D0E8-B0D4-09DAC837849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07E8A70-5203-8870-0360-D05EAF89A5F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EFA8833D-B070-3DA5-DD96-0C0D1F3897A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5498741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2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076701-9C11-334C-B6A2-D5ECA7FAD4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8C0BD45-694E-EE17-14A7-267479298C2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33C2595-EDA5-3EA1-2348-15B5412F450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id="{481C5C35-3868-2919-FD90-69E74761D9B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A7B92182-3A81-6928-241B-2973DBB6BB8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:a16="http://schemas.microsoft.com/office/drawing/2014/main" id="{558AEEDD-452E-D2E3-6549-9063573562C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7629340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3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BA1EC4-C146-034C-AB5F-C136BE2456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94F5E77-1FC3-585A-2BEB-670E74731F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FA99B05-FD4C-BDC1-94CF-454CFEAD23D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0" name="Conector recto 18">
            <a:extLst>
              <a:ext uri="{FF2B5EF4-FFF2-40B4-BE49-F238E27FC236}">
                <a16:creationId xmlns:a16="http://schemas.microsoft.com/office/drawing/2014/main" id="{5DC7D696-F855-EC4B-A11A-025D2858151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805E7F8-987E-A9D1-85A6-171514180C0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:a16="http://schemas.microsoft.com/office/drawing/2014/main" id="{C3449BC3-CCEF-0150-53D9-050696A6E42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612584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546">
          <p15:clr>
            <a:srgbClr val="FBAE40"/>
          </p15:clr>
        </p15:guide>
        <p15:guide id="5" orient="horz" pos="3816">
          <p15:clr>
            <a:srgbClr val="FBAE40"/>
          </p15:clr>
        </p15:guide>
        <p15:guide id="6" pos="150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24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8A59D04-3648-C04F-8164-FB93D96726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F94C379F-C8BC-2C44-9842-097DE2E46EE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EF4B0C6E-A0D5-4B57-8C44-769883AC2AD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1DB4A62-9A4E-D96F-967E-7BD6D747A15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82051A81-966F-838F-F8DC-68BB56221858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1" name="Marcador de número de diapositiva 1">
            <a:extLst>
              <a:ext uri="{FF2B5EF4-FFF2-40B4-BE49-F238E27FC236}">
                <a16:creationId xmlns:a16="http://schemas.microsoft.com/office/drawing/2014/main" id="{CF17F71D-BB51-5017-10C1-8B09D4CE52F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9491423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6AB60DA-64F5-1A46-94B5-3F7C9FBD8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BB17CE9B-922B-8B3D-BF6F-6D4E416B84C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ACCFF154-8F2F-A7A8-EBF4-3403D1D63EC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6A896088-94F9-91F5-775E-643C71C263E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7879EB5-8A92-F3E6-4A48-30C5C71454F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1" name="Marcador de número de diapositiva 1">
            <a:extLst>
              <a:ext uri="{FF2B5EF4-FFF2-40B4-BE49-F238E27FC236}">
                <a16:creationId xmlns:a16="http://schemas.microsoft.com/office/drawing/2014/main" id="{79E85879-9DE6-19B4-6012-2D668B0599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2770410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3" pos="5632">
          <p15:clr>
            <a:srgbClr val="FBAE40"/>
          </p15:clr>
        </p15:guide>
        <p15:guide id="4" pos="3840">
          <p15:clr>
            <a:srgbClr val="FBAE40"/>
          </p15:clr>
        </p15:guide>
        <p15:guide id="5" pos="204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5" name="Picture 3" descr="Logo, icon&#10;&#10;Description automatically generated">
            <a:extLst>
              <a:ext uri="{FF2B5EF4-FFF2-40B4-BE49-F238E27FC236}">
                <a16:creationId xmlns:a16="http://schemas.microsoft.com/office/drawing/2014/main" id="{3737A316-07E6-EF48-8A99-DD515B5351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3490" y="452438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679339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FDAD75A-4AFF-B042-947D-6A34EE5910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48A8B1-81C4-8917-7D51-438F29E309B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556C7EC1-9E73-0E91-0C53-2556B34DAFD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1F4CB30A-BA06-13F3-AAD3-2110D9D3DFD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1992030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8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23DD1B-C850-FC4E-A162-11506FBB60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8532EF73-5BC3-EA4D-633F-22B6029649C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1CF59FAC-6367-8655-3E68-647E9A6E34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A6C5CE12-8BCE-1CEC-1460-B2E4AC44E54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37481800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7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  <p15:guide id="7" orient="horz" pos="66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Picture 7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7233319F-5936-7CB4-0101-DF03B2752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002" y="5428821"/>
            <a:ext cx="512822" cy="512822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786580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de Portadilla capitulo c titulo y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5" name="Picture 3" descr="Logo, icon&#10;&#10;Description automatically generated">
            <a:extLst>
              <a:ext uri="{FF2B5EF4-FFF2-40B4-BE49-F238E27FC236}">
                <a16:creationId xmlns:a16="http://schemas.microsoft.com/office/drawing/2014/main" id="{3737A316-07E6-EF48-8A99-DD515B5351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3490" y="452438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48680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BD6B223-A8C8-CD47-AB69-8DA2077761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7E2831A9-A15B-41D3-AC5C-52F953B86AF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6D4B63C-8E6F-6AA8-29F0-DE941CCBFA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id="{D7C1E24C-4C5A-EF3A-2D18-88AB203EE68E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6ED2D655-F7A1-ACC9-6600-B1022178FF2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1" name="Marcador de número de diapositiva 1">
            <a:extLst>
              <a:ext uri="{FF2B5EF4-FFF2-40B4-BE49-F238E27FC236}">
                <a16:creationId xmlns:a16="http://schemas.microsoft.com/office/drawing/2014/main" id="{414CA5CA-CED3-D7EA-0507-08AD47A7262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842910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DCB4F15-4A35-4345-8287-7BA8F7E0814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8" name="Círculo">
            <a:extLst>
              <a:ext uri="{FF2B5EF4-FFF2-40B4-BE49-F238E27FC236}">
                <a16:creationId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28B7EC41-02B3-7823-FD79-15DFF8BE7D5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662063BF-07FE-EE5B-A42A-0E7F6DA7586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85F9AF68-8345-6B33-319E-57FB32203EE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4885856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2" name="Picture 9">
            <a:extLst>
              <a:ext uri="{FF2B5EF4-FFF2-40B4-BE49-F238E27FC236}">
                <a16:creationId xmlns:a16="http://schemas.microsoft.com/office/drawing/2014/main" id="{83C2F501-C9A6-6E73-69FF-B2015CE58C9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82300343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F2D404D2-9A20-0B4A-978D-2FBB703A25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  <p:sp>
        <p:nvSpPr>
          <p:cNvPr id="5" name="Círculo">
            <a:extLst>
              <a:ext uri="{FF2B5EF4-FFF2-40B4-BE49-F238E27FC236}">
                <a16:creationId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708C1469-2B8E-73AF-CF7C-CB1E35B5195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6B4479DF-D47E-2ACB-C620-F6A23E905E9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4" name="Conector recto 18">
            <a:extLst>
              <a:ext uri="{FF2B5EF4-FFF2-40B4-BE49-F238E27FC236}">
                <a16:creationId xmlns:a16="http://schemas.microsoft.com/office/drawing/2014/main" id="{9446F6A5-FBE6-0EBF-3201-FDC2C57A54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4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7B3DDE7D-2862-EDC8-86C6-7D1892FB6CC8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id="{5CCC0045-127A-2701-5A17-DA4E2C1EDB2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0213190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5" name="Conector recto 18">
            <a:extLst>
              <a:ext uri="{FF2B5EF4-FFF2-40B4-BE49-F238E27FC236}">
                <a16:creationId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Círculo">
            <a:extLst>
              <a:ext uri="{FF2B5EF4-FFF2-40B4-BE49-F238E27FC236}">
                <a16:creationId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11768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1036831-915A-DE4B-8CE3-6EC7EAA59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34166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14E8690-B5CB-FD43-A144-8D7A82542A6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50708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orient="horz" pos="77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6C38ABE7-BC51-EF7A-3C3B-18331AC995C8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AB30034D-4DA7-6E16-76D1-BCDDD34A143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8811903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írculo">
            <a:extLst>
              <a:ext uri="{FF2B5EF4-FFF2-40B4-BE49-F238E27FC236}">
                <a16:creationId xmlns:a16="http://schemas.microsoft.com/office/drawing/2014/main" id="{13131D8E-2691-012F-B922-5F84E05DB189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id="{2456CFF2-3EF9-3D39-6D9D-5DF628164887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3" name="Círculo">
            <a:extLst>
              <a:ext uri="{FF2B5EF4-FFF2-40B4-BE49-F238E27FC236}">
                <a16:creationId xmlns:a16="http://schemas.microsoft.com/office/drawing/2014/main" id="{321323C4-CCED-891A-3C6C-C33C34807E48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id="{69B22F3E-14AE-8EFA-D124-D45F2559A55E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id="{EEDCF006-CABB-4337-82EA-F1BBF770279E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id="{C726FD99-FD55-9D0A-7B5F-954F099CBBA1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id="{9FE25819-309A-44D2-3F30-47EC711E39C5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AA915B77-CB08-0487-CF02-1A5CBF953108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8246F1CB-1800-7773-0EDA-5571D9652A78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DB27F37E-9296-F91D-C374-572CF86B7BC2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id="{5DD4D913-24A4-313C-90AC-7F80962BC58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id="{E7281C10-42D3-69E3-E324-38A7C958FAB2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4439415E-560D-3F68-1713-7EC5CA6CA476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7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D4A56AE-A7F5-D611-190A-FB6F06F875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D81E3070-202C-DF25-9967-83CA459556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5C91280A-380D-1CFF-0766-E0E0BF033C7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8" name="Conector recto 18">
            <a:extLst>
              <a:ext uri="{FF2B5EF4-FFF2-40B4-BE49-F238E27FC236}">
                <a16:creationId xmlns:a16="http://schemas.microsoft.com/office/drawing/2014/main" id="{9262073D-6F4C-15C7-A44E-D12D29E1CE0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4CC77AB-C6A6-20FD-F4AA-3C61F8A0373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30" name="Marcador de número de diapositiva 1">
            <a:extLst>
              <a:ext uri="{FF2B5EF4-FFF2-40B4-BE49-F238E27FC236}">
                <a16:creationId xmlns:a16="http://schemas.microsoft.com/office/drawing/2014/main" id="{4A312A71-7034-4BD5-0EE0-647FC0A72A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59591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ver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FA595E92-6A1F-306E-1BEC-0F2D9521E6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8891" y="450113"/>
            <a:ext cx="526200" cy="526200"/>
          </a:xfrm>
          <a:prstGeom prst="rect">
            <a:avLst/>
          </a:prstGeom>
        </p:spPr>
      </p:pic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A1B4B05D-FDED-1017-DD66-775E40EF349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A5B4A9A1-50F4-5F79-35D0-C94C1BA7A36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1" name="Conector recto 18">
            <a:extLst>
              <a:ext uri="{FF2B5EF4-FFF2-40B4-BE49-F238E27FC236}">
                <a16:creationId xmlns:a16="http://schemas.microsoft.com/office/drawing/2014/main" id="{43458749-660F-BD30-71F6-BF4F3148E20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B07EAEBE-F69B-96EA-EAAE-FC503CD2143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E1E48337-4C8A-1948-1D54-4E6DA2C5AFBD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5426421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2729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BC48782D-A256-F7A2-22B3-A9EFAABB1D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BE9A77B-6163-C88D-FBC1-D45B0B1F4A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8629392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533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5657892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9448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BC48782D-A256-F7A2-22B3-A9EFAABB1D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BE9A77B-6163-C88D-FBC1-D45B0B1F4A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" name="Marcador de texto 20">
            <a:extLst>
              <a:ext uri="{FF2B5EF4-FFF2-40B4-BE49-F238E27FC236}">
                <a16:creationId xmlns:a16="http://schemas.microsoft.com/office/drawing/2014/main" id="{5DE6C607-DD1D-446D-4686-218DB0D1A5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579" y="1562832"/>
            <a:ext cx="11336433" cy="4747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0594647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280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sp>
        <p:nvSpPr>
          <p:cNvPr id="2" name="Marcador de texto 20">
            <a:extLst>
              <a:ext uri="{FF2B5EF4-FFF2-40B4-BE49-F238E27FC236}">
                <a16:creationId xmlns:a16="http://schemas.microsoft.com/office/drawing/2014/main" id="{1BF82166-36C4-C84E-5886-6AF14953842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47579" y="1562832"/>
            <a:ext cx="11336433" cy="4747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marL="357188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gundo nivel</a:t>
            </a:r>
          </a:p>
          <a:p>
            <a:pPr marL="538163" marR="0" lvl="2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rcer nivel</a:t>
            </a:r>
          </a:p>
          <a:p>
            <a:pPr marL="719138" marR="0" lvl="3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arto nivel</a:t>
            </a:r>
          </a:p>
          <a:p>
            <a:pPr marL="896938" marR="0" lvl="4" indent="-1778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into nivel</a:t>
            </a: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2959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691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7340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5400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153913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4831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err="1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5BF45"/>
            </a:solidFill>
            <a:prstDash val="solid"/>
            <a:miter lim="400000"/>
          </a:ln>
          <a:effectLst/>
          <a:sp3d/>
        </p:spPr>
      </p:cxnSp>
    </p:spTree>
    <p:extLst>
      <p:ext uri="{BB962C8B-B14F-4D97-AF65-F5344CB8AC3E}">
        <p14:creationId xmlns:p14="http://schemas.microsoft.com/office/powerpoint/2010/main" val="21225985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image" Target="../media/image35.emf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3.xml"/><Relationship Id="rId41" Type="http://schemas.openxmlformats.org/officeDocument/2006/relationships/oleObject" Target="../embeddings/oleObject34.bin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tags" Target="../tags/tag3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image" Target="../media/image42.emf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oleObject" Target="../embeddings/oleObject58.bin"/><Relationship Id="rId2" Type="http://schemas.openxmlformats.org/officeDocument/2006/relationships/slideLayout" Target="../slideLayouts/slideLayout94.xml"/><Relationship Id="rId16" Type="http://schemas.openxmlformats.org/officeDocument/2006/relationships/tags" Target="../tags/tag59.xml"/><Relationship Id="rId20" Type="http://schemas.openxmlformats.org/officeDocument/2006/relationships/image" Target="../media/image44.svg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02.xml"/><Relationship Id="rId19" Type="http://schemas.openxmlformats.org/officeDocument/2006/relationships/image" Target="../media/image43.png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heme" Target="../theme/theme4.xml"/><Relationship Id="rId18" Type="http://schemas.openxmlformats.org/officeDocument/2006/relationships/tags" Target="../tags/tag78.xml"/><Relationship Id="rId26" Type="http://schemas.openxmlformats.org/officeDocument/2006/relationships/tags" Target="../tags/tag86.xml"/><Relationship Id="rId3" Type="http://schemas.openxmlformats.org/officeDocument/2006/relationships/slideLayout" Target="../slideLayouts/slideLayout109.xml"/><Relationship Id="rId21" Type="http://schemas.openxmlformats.org/officeDocument/2006/relationships/tags" Target="../tags/tag81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tags" Target="../tags/tag77.xml"/><Relationship Id="rId25" Type="http://schemas.openxmlformats.org/officeDocument/2006/relationships/tags" Target="../tags/tag85.xml"/><Relationship Id="rId2" Type="http://schemas.openxmlformats.org/officeDocument/2006/relationships/slideLayout" Target="../slideLayouts/slideLayout108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29" Type="http://schemas.openxmlformats.org/officeDocument/2006/relationships/tags" Target="../tags/tag89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tags" Target="../tags/tag84.xml"/><Relationship Id="rId32" Type="http://schemas.openxmlformats.org/officeDocument/2006/relationships/image" Target="../media/image47.emf"/><Relationship Id="rId5" Type="http://schemas.openxmlformats.org/officeDocument/2006/relationships/slideLayout" Target="../slideLayouts/slideLayout111.xml"/><Relationship Id="rId15" Type="http://schemas.openxmlformats.org/officeDocument/2006/relationships/tags" Target="../tags/tag75.xml"/><Relationship Id="rId23" Type="http://schemas.openxmlformats.org/officeDocument/2006/relationships/tags" Target="../tags/tag83.xml"/><Relationship Id="rId28" Type="http://schemas.openxmlformats.org/officeDocument/2006/relationships/tags" Target="../tags/tag88.xml"/><Relationship Id="rId10" Type="http://schemas.openxmlformats.org/officeDocument/2006/relationships/slideLayout" Target="../slideLayouts/slideLayout116.xml"/><Relationship Id="rId19" Type="http://schemas.openxmlformats.org/officeDocument/2006/relationships/tags" Target="../tags/tag79.xml"/><Relationship Id="rId31" Type="http://schemas.openxmlformats.org/officeDocument/2006/relationships/oleObject" Target="../embeddings/oleObject73.bin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tags" Target="../tags/tag74.xml"/><Relationship Id="rId22" Type="http://schemas.openxmlformats.org/officeDocument/2006/relationships/tags" Target="../tags/tag82.xml"/><Relationship Id="rId27" Type="http://schemas.openxmlformats.org/officeDocument/2006/relationships/tags" Target="../tags/tag87.xml"/><Relationship Id="rId30" Type="http://schemas.openxmlformats.org/officeDocument/2006/relationships/tags" Target="../tags/tag9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tags" Target="../tags/tag114.xml"/><Relationship Id="rId3" Type="http://schemas.openxmlformats.org/officeDocument/2006/relationships/slideLayout" Target="../slideLayouts/slideLayout121.xml"/><Relationship Id="rId21" Type="http://schemas.openxmlformats.org/officeDocument/2006/relationships/image" Target="../media/image36.png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image" Target="../media/image42.emf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8.xml"/><Relationship Id="rId19" Type="http://schemas.openxmlformats.org/officeDocument/2006/relationships/oleObject" Target="../embeddings/oleObject85.bin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image" Target="../media/image37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6363897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7" imgW="7772400" imgH="10058400" progId="TCLayout.ActiveDocument.1">
                  <p:embed/>
                </p:oleObj>
              </mc:Choice>
              <mc:Fallback>
                <p:oleObj name="Diapositiva de think-cell" r:id="rId57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42666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3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4064" r:id="rId21"/>
    <p:sldLayoutId id="2147483680" r:id="rId22"/>
    <p:sldLayoutId id="2147483681" r:id="rId23"/>
    <p:sldLayoutId id="2147483682" r:id="rId24"/>
    <p:sldLayoutId id="2147483683" r:id="rId25"/>
    <p:sldLayoutId id="2147483684" r:id="rId26"/>
    <p:sldLayoutId id="2147483685" r:id="rId27"/>
    <p:sldLayoutId id="2147483686" r:id="rId28"/>
    <p:sldLayoutId id="2147483687" r:id="rId29"/>
    <p:sldLayoutId id="2147483688" r:id="rId30"/>
    <p:sldLayoutId id="2147484065" r:id="rId31"/>
    <p:sldLayoutId id="2147483689" r:id="rId32"/>
    <p:sldLayoutId id="2147483690" r:id="rId33"/>
    <p:sldLayoutId id="2147483691" r:id="rId34"/>
    <p:sldLayoutId id="2147483692" r:id="rId35"/>
    <p:sldLayoutId id="2147483693" r:id="rId36"/>
    <p:sldLayoutId id="2147483694" r:id="rId37"/>
    <p:sldLayoutId id="2147483695" r:id="rId38"/>
    <p:sldLayoutId id="2147483696" r:id="rId39"/>
    <p:sldLayoutId id="2147483697" r:id="rId40"/>
    <p:sldLayoutId id="2147483698" r:id="rId41"/>
    <p:sldLayoutId id="2147483699" r:id="rId42"/>
    <p:sldLayoutId id="2147483700" r:id="rId43"/>
    <p:sldLayoutId id="2147484066" r:id="rId44"/>
    <p:sldLayoutId id="2147483701" r:id="rId45"/>
    <p:sldLayoutId id="2147483702" r:id="rId46"/>
    <p:sldLayoutId id="2147483703" r:id="rId47"/>
    <p:sldLayoutId id="2147483704" r:id="rId48"/>
    <p:sldLayoutId id="2147483705" r:id="rId49"/>
    <p:sldLayoutId id="2147483706" r:id="rId50"/>
    <p:sldLayoutId id="2147483708" r:id="rId51"/>
    <p:sldLayoutId id="2147483709" r:id="rId52"/>
    <p:sldLayoutId id="2147483752" r:id="rId53"/>
    <p:sldLayoutId id="2147483710" r:id="rId54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1" imgW="415" imgH="416" progId="TCLayout.ActiveDocument.1">
                  <p:embed/>
                </p:oleObj>
              </mc:Choice>
              <mc:Fallback>
                <p:oleObj name="Diapositiva de think-cell" r:id="rId41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írculo">
            <a:extLst>
              <a:ext uri="{FF2B5EF4-FFF2-40B4-BE49-F238E27FC236}">
                <a16:creationId xmlns:a16="http://schemas.microsoft.com/office/drawing/2014/main" id="{DB5F8B0D-0730-8E3A-A5F5-B53536478EA2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2" name="Círculo">
            <a:extLst>
              <a:ext uri="{FF2B5EF4-FFF2-40B4-BE49-F238E27FC236}">
                <a16:creationId xmlns:a16="http://schemas.microsoft.com/office/drawing/2014/main" id="{B8DB98CD-1C92-9FDB-513E-D1854AAFCAFE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3" name="Círculo">
            <a:extLst>
              <a:ext uri="{FF2B5EF4-FFF2-40B4-BE49-F238E27FC236}">
                <a16:creationId xmlns:a16="http://schemas.microsoft.com/office/drawing/2014/main" id="{8B283C60-6EF9-A53F-05BF-4D1338983F18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id="{30104D87-F9FD-848F-0291-E548A53D7912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id="{345909CC-34D9-BA24-70C6-61758D2D6C2C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id="{C244F9AB-3C1F-8C72-5F72-F19831ADB629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id="{282E74AC-E671-2CA2-9E04-D5D665F013EB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06B856B2-BF5C-0C03-6CB8-58EAB3D533EF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4A672464-FACF-1A60-8ADF-5DDD04AE09D3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DDAF9B65-8819-D4E9-A204-E6AE87FC5B97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id="{2E3EA7EA-8DF5-5CF6-ADCC-45D5A643F2D1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id="{3EF68435-C4EA-FFE5-B66E-F737E0D48111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93B8A8C2-95CC-F5E1-F2E7-9F32D57DF4F8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6400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7" r:id="rId32"/>
    <p:sldLayoutId id="2147483788" r:id="rId33"/>
    <p:sldLayoutId id="2147483789" r:id="rId34"/>
    <p:sldLayoutId id="2147483790" r:id="rId35"/>
    <p:sldLayoutId id="2147483791" r:id="rId36"/>
    <p:sldLayoutId id="2147483792" r:id="rId37"/>
    <p:sldLayoutId id="2147483793" r:id="rId3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719722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7E22C0DD-7EC0-CB13-19EE-F05783A24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0031F56D-A399-10B4-C046-ECC58D0B382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348FFF"/>
            </a:solidFill>
            <a:prstDash val="solid"/>
            <a:miter lim="400000"/>
          </a:ln>
          <a:effectLst/>
          <a:sp3d/>
        </p:spPr>
      </p:cxnSp>
      <p:sp>
        <p:nvSpPr>
          <p:cNvPr id="20" name="Marcador de título 19">
            <a:extLst>
              <a:ext uri="{FF2B5EF4-FFF2-40B4-BE49-F238E27FC236}">
                <a16:creationId xmlns:a16="http://schemas.microsoft.com/office/drawing/2014/main" id="{A54FB77B-4F90-D9EF-BADA-C2F6113F5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1" y="496570"/>
            <a:ext cx="9792000" cy="60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s-ES"/>
              <a:t>Título Arial Regular 20</a:t>
            </a:r>
            <a:br>
              <a:rPr lang="es-ES"/>
            </a:br>
            <a:endParaRPr lang="es-ES"/>
          </a:p>
        </p:txBody>
      </p:sp>
      <p:sp>
        <p:nvSpPr>
          <p:cNvPr id="21" name="Marcador de texto 20">
            <a:extLst>
              <a:ext uri="{FF2B5EF4-FFF2-40B4-BE49-F238E27FC236}">
                <a16:creationId xmlns:a16="http://schemas.microsoft.com/office/drawing/2014/main" id="{3A844869-5447-4C2B-8287-C19B6DF6EC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579" y="1562832"/>
            <a:ext cx="11336433" cy="4747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marL="357188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gundo nivel</a:t>
            </a:r>
          </a:p>
          <a:p>
            <a:pPr marL="538163" marR="0" lvl="2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rcer nivel</a:t>
            </a:r>
          </a:p>
          <a:p>
            <a:pPr marL="719138" marR="0" lvl="3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arto nivel</a:t>
            </a:r>
          </a:p>
          <a:p>
            <a:pPr marL="896938" marR="0" lvl="4" indent="-1778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into nivel</a:t>
            </a: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Marcador de pie de página 22">
            <a:extLst>
              <a:ext uri="{FF2B5EF4-FFF2-40B4-BE49-F238E27FC236}">
                <a16:creationId xmlns:a16="http://schemas.microsoft.com/office/drawing/2014/main" id="{DB1059A0-05A4-890B-A8CF-8B52D761D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7578" y="6466580"/>
            <a:ext cx="10953109" cy="23429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/>
          </a:p>
        </p:txBody>
      </p:sp>
      <p:sp>
        <p:nvSpPr>
          <p:cNvPr id="24" name="Marcador de número de diapositiva 23">
            <a:extLst>
              <a:ext uri="{FF2B5EF4-FFF2-40B4-BE49-F238E27FC236}">
                <a16:creationId xmlns:a16="http://schemas.microsoft.com/office/drawing/2014/main" id="{3F6EFFD3-EBDC-A9A6-524F-FE17E6FD46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2237" y="6466580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9" name="Círculo">
            <a:extLst>
              <a:ext uri="{FF2B5EF4-FFF2-40B4-BE49-F238E27FC236}">
                <a16:creationId xmlns:a16="http://schemas.microsoft.com/office/drawing/2014/main" id="{67F123AF-3418-CD01-A636-AEBDFD32BE7D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0" name="Círculo">
            <a:extLst>
              <a:ext uri="{FF2B5EF4-FFF2-40B4-BE49-F238E27FC236}">
                <a16:creationId xmlns:a16="http://schemas.microsoft.com/office/drawing/2014/main" id="{B379EE92-FC6D-694B-393C-5211BF945D3E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1" name="Círculo">
            <a:extLst>
              <a:ext uri="{FF2B5EF4-FFF2-40B4-BE49-F238E27FC236}">
                <a16:creationId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798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Círculo">
            <a:extLst>
              <a:ext uri="{FF2B5EF4-FFF2-40B4-BE49-F238E27FC236}">
                <a16:creationId xmlns:a16="http://schemas.microsoft.com/office/drawing/2014/main" id="{4B30011D-1E2B-4B30-BEC7-1A6BD4C25CCC}"/>
              </a:ext>
            </a:extLst>
          </p:cNvPr>
          <p:cNvSpPr/>
          <p:nvPr userDrawn="1"/>
        </p:nvSpPr>
        <p:spPr>
          <a:xfrm>
            <a:off x="-18798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3" name="Círculo">
            <a:extLst>
              <a:ext uri="{FF2B5EF4-FFF2-40B4-BE49-F238E27FC236}">
                <a16:creationId xmlns:a16="http://schemas.microsoft.com/office/drawing/2014/main" id="{C4AB983C-716E-FA35-ED4D-89FB92899131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4" name="Círculo">
            <a:extLst>
              <a:ext uri="{FF2B5EF4-FFF2-40B4-BE49-F238E27FC236}">
                <a16:creationId xmlns:a16="http://schemas.microsoft.com/office/drawing/2014/main" id="{FE4169A0-295E-427F-5DB5-7BCBC8CF4469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5" name="Círculo">
            <a:extLst>
              <a:ext uri="{FF2B5EF4-FFF2-40B4-BE49-F238E27FC236}">
                <a16:creationId xmlns:a16="http://schemas.microsoft.com/office/drawing/2014/main" id="{88EF2449-2A49-499E-6F80-C48E8C65AE89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38844C5F-2F0D-424E-8CEF-88090B3039CD}"/>
              </a:ext>
            </a:extLst>
          </p:cNvPr>
          <p:cNvSpPr/>
          <p:nvPr userDrawn="1"/>
        </p:nvSpPr>
        <p:spPr>
          <a:xfrm>
            <a:off x="-1879827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7" name="Rectángulo 66">
            <a:extLst>
              <a:ext uri="{FF2B5EF4-FFF2-40B4-BE49-F238E27FC236}">
                <a16:creationId xmlns:a16="http://schemas.microsoft.com/office/drawing/2014/main" id="{5D700805-865F-F74D-A6EC-3717453F91CB}"/>
              </a:ext>
            </a:extLst>
          </p:cNvPr>
          <p:cNvSpPr/>
          <p:nvPr userDrawn="1"/>
        </p:nvSpPr>
        <p:spPr>
          <a:xfrm>
            <a:off x="-1879827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err="1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8" name="Rectángulo 67">
            <a:extLst>
              <a:ext uri="{FF2B5EF4-FFF2-40B4-BE49-F238E27FC236}">
                <a16:creationId xmlns:a16="http://schemas.microsoft.com/office/drawing/2014/main" id="{F2C64A04-82E1-CE99-E154-EF5E731BA2DC}"/>
              </a:ext>
            </a:extLst>
          </p:cNvPr>
          <p:cNvSpPr/>
          <p:nvPr userDrawn="1"/>
        </p:nvSpPr>
        <p:spPr>
          <a:xfrm>
            <a:off x="-1879827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9" name="Círculo">
            <a:extLst>
              <a:ext uri="{FF2B5EF4-FFF2-40B4-BE49-F238E27FC236}">
                <a16:creationId xmlns:a16="http://schemas.microsoft.com/office/drawing/2014/main" id="{B5B13F03-4ED1-23AF-FDEE-EB7F26F373F7}"/>
              </a:ext>
            </a:extLst>
          </p:cNvPr>
          <p:cNvSpPr/>
          <p:nvPr userDrawn="1"/>
        </p:nvSpPr>
        <p:spPr>
          <a:xfrm>
            <a:off x="-1879827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0" name="Círculo">
            <a:extLst>
              <a:ext uri="{FF2B5EF4-FFF2-40B4-BE49-F238E27FC236}">
                <a16:creationId xmlns:a16="http://schemas.microsoft.com/office/drawing/2014/main" id="{F373F0E3-3CF7-B5A4-DA55-E26C73B8FC11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F2F77871-9B47-834B-CD7F-7EA6F593F506}"/>
              </a:ext>
            </a:extLst>
          </p:cNvPr>
          <p:cNvSpPr/>
          <p:nvPr userDrawn="1"/>
        </p:nvSpPr>
        <p:spPr>
          <a:xfrm>
            <a:off x="-1879827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Círculo">
            <a:extLst>
              <a:ext uri="{FF2B5EF4-FFF2-40B4-BE49-F238E27FC236}">
                <a16:creationId xmlns:a16="http://schemas.microsoft.com/office/drawing/2014/main" id="{1BB1F736-B990-B069-C8D9-565C589CE5FC}"/>
              </a:ext>
            </a:extLst>
          </p:cNvPr>
          <p:cNvSpPr/>
          <p:nvPr userDrawn="1"/>
        </p:nvSpPr>
        <p:spPr>
          <a:xfrm>
            <a:off x="-1879827" y="3241159"/>
            <a:ext cx="493539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252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149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46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C45E07B0-C88D-5C8C-C02A-666B22D6A507}"/>
              </a:ext>
            </a:extLst>
          </p:cNvPr>
          <p:cNvSpPr/>
          <p:nvPr userDrawn="1"/>
        </p:nvSpPr>
        <p:spPr>
          <a:xfrm>
            <a:off x="-1879827" y="298495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Meta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Círculo">
            <a:extLst>
              <a:ext uri="{FF2B5EF4-FFF2-40B4-BE49-F238E27FC236}">
                <a16:creationId xmlns:a16="http://schemas.microsoft.com/office/drawing/2014/main" id="{3BEE59C6-2B35-B879-97EE-384F609BA69F}"/>
              </a:ext>
            </a:extLst>
          </p:cNvPr>
          <p:cNvSpPr/>
          <p:nvPr userDrawn="1"/>
        </p:nvSpPr>
        <p:spPr>
          <a:xfrm>
            <a:off x="-1879827" y="4030536"/>
            <a:ext cx="493539" cy="493239"/>
          </a:xfrm>
          <a:prstGeom prst="ellipse">
            <a:avLst/>
          </a:prstGeom>
          <a:solidFill>
            <a:srgbClr val="969696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595AB7C-F4DF-53AA-BD31-1DF7648B078A}"/>
              </a:ext>
            </a:extLst>
          </p:cNvPr>
          <p:cNvSpPr/>
          <p:nvPr userDrawn="1"/>
        </p:nvSpPr>
        <p:spPr>
          <a:xfrm>
            <a:off x="-1879827" y="3774334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Años anteriores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Círculo">
            <a:extLst>
              <a:ext uri="{FF2B5EF4-FFF2-40B4-BE49-F238E27FC236}">
                <a16:creationId xmlns:a16="http://schemas.microsoft.com/office/drawing/2014/main" id="{57453A65-2AA3-9EBC-9C09-919488222F7D}"/>
              </a:ext>
            </a:extLst>
          </p:cNvPr>
          <p:cNvSpPr/>
          <p:nvPr userDrawn="1"/>
        </p:nvSpPr>
        <p:spPr>
          <a:xfrm>
            <a:off x="-1879827" y="4824413"/>
            <a:ext cx="493538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A4A4007B-0B22-876A-AD08-0A315F69EEE1}"/>
              </a:ext>
            </a:extLst>
          </p:cNvPr>
          <p:cNvSpPr/>
          <p:nvPr userDrawn="1"/>
        </p:nvSpPr>
        <p:spPr>
          <a:xfrm>
            <a:off x="-1879827" y="4563711"/>
            <a:ext cx="792432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Años actual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02784AD2-DA51-9213-B556-37748A8AE800}"/>
              </a:ext>
            </a:extLst>
          </p:cNvPr>
          <p:cNvSpPr/>
          <p:nvPr userDrawn="1"/>
        </p:nvSpPr>
        <p:spPr>
          <a:xfrm>
            <a:off x="-1879827" y="5425911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Unidades de medida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C13E35A7-528A-DD1B-652C-A5865CB051E2}"/>
              </a:ext>
            </a:extLst>
          </p:cNvPr>
          <p:cNvSpPr txBox="1"/>
          <p:nvPr userDrawn="1"/>
        </p:nvSpPr>
        <p:spPr>
          <a:xfrm>
            <a:off x="-1838731" y="5642177"/>
            <a:ext cx="1135535" cy="3519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s-CL" sz="1100"/>
              <a:t>XX MM$</a:t>
            </a:r>
          </a:p>
          <a:p>
            <a:pPr algn="l"/>
            <a:endParaRPr lang="es-CL" sz="1200" err="1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120F637C-654C-0602-35ED-77BE7A4CDA0F}"/>
              </a:ext>
            </a:extLst>
          </p:cNvPr>
          <p:cNvSpPr/>
          <p:nvPr userDrawn="1"/>
        </p:nvSpPr>
        <p:spPr>
          <a:xfrm>
            <a:off x="-1892756" y="5934993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¿Cómo escribir un pie de página?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976BF44D-A02E-E077-863A-BB190275B4D8}"/>
              </a:ext>
            </a:extLst>
          </p:cNvPr>
          <p:cNvSpPr txBox="1"/>
          <p:nvPr userDrawn="1"/>
        </p:nvSpPr>
        <p:spPr>
          <a:xfrm>
            <a:off x="-1851660" y="6258137"/>
            <a:ext cx="1722106" cy="4049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s-CL" sz="1050"/>
              <a:t>(1) </a:t>
            </a:r>
            <a:r>
              <a:rPr lang="es-CL" sz="1050" err="1"/>
              <a:t>Oli</a:t>
            </a:r>
            <a:r>
              <a:rPr lang="es-CL" sz="1050"/>
              <a:t>; (2) Javi; (3) Nacho</a:t>
            </a:r>
          </a:p>
          <a:p>
            <a:pPr algn="l"/>
            <a:endParaRPr lang="es-CL" sz="1100" err="1"/>
          </a:p>
        </p:txBody>
      </p:sp>
      <p:sp>
        <p:nvSpPr>
          <p:cNvPr id="48" name="Círculo">
            <a:extLst>
              <a:ext uri="{FF2B5EF4-FFF2-40B4-BE49-F238E27FC236}">
                <a16:creationId xmlns:a16="http://schemas.microsoft.com/office/drawing/2014/main" id="{BEEE7C09-F310-9313-8342-3B06A2BE1253}"/>
              </a:ext>
            </a:extLst>
          </p:cNvPr>
          <p:cNvSpPr/>
          <p:nvPr userDrawn="1"/>
        </p:nvSpPr>
        <p:spPr>
          <a:xfrm>
            <a:off x="-930883" y="4824413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id="{8FF418AD-1246-5E30-BAD2-2B868178EE46}"/>
              </a:ext>
            </a:extLst>
          </p:cNvPr>
          <p:cNvSpPr/>
          <p:nvPr userDrawn="1"/>
        </p:nvSpPr>
        <p:spPr>
          <a:xfrm>
            <a:off x="-1037968" y="4563711"/>
            <a:ext cx="792432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Acumulado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5902AC94-05DB-7E4F-8A6B-837B66606677}"/>
              </a:ext>
            </a:extLst>
          </p:cNvPr>
          <p:cNvPicPr>
            <a:picLocks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692003" y="385812"/>
            <a:ext cx="1094400" cy="5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89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0" r:id="rId5"/>
    <p:sldLayoutId id="2147484041" r:id="rId6"/>
    <p:sldLayoutId id="2147484042" r:id="rId7"/>
    <p:sldLayoutId id="2147484043" r:id="rId8"/>
    <p:sldLayoutId id="2147484044" r:id="rId9"/>
    <p:sldLayoutId id="2147484045" r:id="rId10"/>
    <p:sldLayoutId id="2147484046" r:id="rId11"/>
    <p:sldLayoutId id="2147484047" r:id="rId12"/>
    <p:sldLayoutId id="2147484048" r:id="rId13"/>
    <p:sldLayoutId id="2147484049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1" i="0" u="none" strike="noStrike" kern="1200" cap="none" spc="0" normalizeH="0" baseline="0" dirty="0" smtClean="0">
          <a:ln>
            <a:noFill/>
          </a:ln>
          <a:solidFill>
            <a:srgbClr val="348FFF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7188" indent="-1762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6938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1" imgW="270" imgH="270" progId="TCLayout.ActiveDocument.1">
                  <p:embed/>
                </p:oleObj>
              </mc:Choice>
              <mc:Fallback>
                <p:oleObj name="Diapositiva de think-cell" r:id="rId3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CL" sz="2176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CL" sz="612">
              <a:solidFill>
                <a:srgbClr val="80808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466736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CL" noProof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6" y="77303"/>
            <a:ext cx="6362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CL" sz="1020" cap="all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899032"/>
            <a:ext cx="11725484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CL" sz="1428">
                <a:solidFill>
                  <a:srgbClr val="808080"/>
                </a:solidFill>
                <a:latin typeface="Arial"/>
              </a:rPr>
              <a:t>CLIENT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098979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s-CL" sz="816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98979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/>
            <a:r>
              <a:rPr lang="es-CL" sz="816">
                <a:solidFill>
                  <a:srgbClr val="808080"/>
                </a:solidFill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CL" sz="1632" b="1">
                  <a:solidFill>
                    <a:srgbClr val="000000"/>
                  </a:solidFill>
                </a:rPr>
                <a:t>Title</a:t>
              </a:r>
            </a:p>
            <a:p>
              <a:r>
                <a:rPr lang="es-CL" sz="1632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rgbClr val="3F3F3F"/>
                </a:buClr>
              </a:pPr>
              <a:r>
                <a:rPr lang="es-CL" sz="816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L" sz="1837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L" sz="1837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L" sz="1837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L" sz="1837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L" sz="1837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L" sz="1837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L" sz="1837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L" sz="1837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L" sz="1837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L" sz="1837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L" sz="1837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F3F3F"/>
                </a:buClr>
              </a:pPr>
              <a:r>
                <a:rPr lang="es-CL" sz="1224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37">
              <a:solidFill>
                <a:srgbClr val="000000"/>
              </a:solidFill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s-CL" err="1"/>
              <a:t>Edit</a:t>
            </a:r>
            <a:r>
              <a:rPr lang="es-CL"/>
              <a:t> Master </a:t>
            </a:r>
            <a:r>
              <a:rPr lang="es-CL" err="1"/>
              <a:t>text</a:t>
            </a:r>
            <a:r>
              <a:rPr lang="es-CL"/>
              <a:t> </a:t>
            </a:r>
            <a:r>
              <a:rPr lang="es-CL" err="1"/>
              <a:t>styles</a:t>
            </a:r>
            <a:endParaRPr lang="es-CL"/>
          </a:p>
          <a:p>
            <a:pPr lvl="1" latinLnBrk="0"/>
            <a:r>
              <a:rPr lang="es-CL" err="1"/>
              <a:t>Second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2" latinLnBrk="0"/>
            <a:r>
              <a:rPr lang="es-CL" err="1"/>
              <a:t>Third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3" latinLnBrk="0"/>
            <a:r>
              <a:rPr lang="es-CL" err="1"/>
              <a:t>Four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4" latinLnBrk="0"/>
            <a:r>
              <a:rPr lang="es-CL" err="1"/>
              <a:t>Fif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04802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2" r:id="rId12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9" imgW="395" imgH="396" progId="TCLayout.ActiveDocument.1">
                  <p:embed/>
                </p:oleObj>
              </mc:Choice>
              <mc:Fallback>
                <p:oleObj name="Diapositiva de think-cell" r:id="rId19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7E22C0DD-7EC0-CB13-19EE-F05783A24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áfico 13">
            <a:extLst>
              <a:ext uri="{FF2B5EF4-FFF2-40B4-BE49-F238E27FC236}">
                <a16:creationId xmlns:a16="http://schemas.microsoft.com/office/drawing/2014/main" id="{E63C7B60-A7A4-41A6-88F3-3406E5999FBF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279502" y="385812"/>
            <a:ext cx="505442" cy="505442"/>
          </a:xfrm>
          <a:prstGeom prst="rect">
            <a:avLst/>
          </a:prstGeom>
        </p:spPr>
      </p:pic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0031F56D-A399-10B4-C046-ECC58D0B382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5BF45"/>
            </a:solidFill>
            <a:prstDash val="solid"/>
            <a:miter lim="400000"/>
          </a:ln>
          <a:effectLst/>
          <a:sp3d/>
        </p:spPr>
      </p:cxnSp>
      <p:sp>
        <p:nvSpPr>
          <p:cNvPr id="20" name="Marcador de título 19">
            <a:extLst>
              <a:ext uri="{FF2B5EF4-FFF2-40B4-BE49-F238E27FC236}">
                <a16:creationId xmlns:a16="http://schemas.microsoft.com/office/drawing/2014/main" id="{A54FB77B-4F90-D9EF-BADA-C2F6113F5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1" y="496570"/>
            <a:ext cx="9792000" cy="60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s-ES"/>
              <a:t>Título Arial Regular 20</a:t>
            </a:r>
            <a:br>
              <a:rPr lang="es-ES"/>
            </a:br>
            <a:endParaRPr lang="es-ES"/>
          </a:p>
        </p:txBody>
      </p:sp>
      <p:sp>
        <p:nvSpPr>
          <p:cNvPr id="21" name="Marcador de texto 20">
            <a:extLst>
              <a:ext uri="{FF2B5EF4-FFF2-40B4-BE49-F238E27FC236}">
                <a16:creationId xmlns:a16="http://schemas.microsoft.com/office/drawing/2014/main" id="{3A844869-5447-4C2B-8287-C19B6DF6EC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579" y="1562832"/>
            <a:ext cx="11336433" cy="4747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80975" lvl="0" indent="-180975"/>
            <a:r>
              <a:rPr lang="es-ES"/>
              <a:t>Haga clic para modificar los estilos de texto del patrón</a:t>
            </a:r>
          </a:p>
          <a:p>
            <a:pPr marL="357188" lvl="1" indent="-176213"/>
            <a:r>
              <a:rPr lang="es-ES"/>
              <a:t>Segundo nivel</a:t>
            </a:r>
          </a:p>
          <a:p>
            <a:pPr marL="538163" lvl="2" indent="-180975"/>
            <a:r>
              <a:rPr lang="es-ES"/>
              <a:t>Tercer nivel</a:t>
            </a:r>
          </a:p>
          <a:p>
            <a:pPr marL="719138" lvl="3" indent="-180975"/>
            <a:r>
              <a:rPr lang="es-ES"/>
              <a:t>Cuarto nivel</a:t>
            </a:r>
          </a:p>
          <a:p>
            <a:pPr marL="896938" lvl="4" indent="-177800"/>
            <a:r>
              <a:rPr lang="es-ES"/>
              <a:t>Quinto nivel</a:t>
            </a:r>
            <a:endParaRPr lang="es-CL"/>
          </a:p>
        </p:txBody>
      </p:sp>
      <p:sp>
        <p:nvSpPr>
          <p:cNvPr id="23" name="Marcador de pie de página 22">
            <a:extLst>
              <a:ext uri="{FF2B5EF4-FFF2-40B4-BE49-F238E27FC236}">
                <a16:creationId xmlns:a16="http://schemas.microsoft.com/office/drawing/2014/main" id="{DB1059A0-05A4-890B-A8CF-8B52D761D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/>
          </a:p>
        </p:txBody>
      </p:sp>
      <p:sp>
        <p:nvSpPr>
          <p:cNvPr id="24" name="Marcador de número de diapositiva 23">
            <a:extLst>
              <a:ext uri="{FF2B5EF4-FFF2-40B4-BE49-F238E27FC236}">
                <a16:creationId xmlns:a16="http://schemas.microsoft.com/office/drawing/2014/main" id="{3F6EFFD3-EBDC-A9A6-524F-FE17E6FD46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2237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Círculo">
            <a:extLst>
              <a:ext uri="{FF2B5EF4-FFF2-40B4-BE49-F238E27FC236}">
                <a16:creationId xmlns:a16="http://schemas.microsoft.com/office/drawing/2014/main" id="{62DCB45C-FA29-1E3D-6203-EC69C1DA9110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6" name="Círculo">
            <a:extLst>
              <a:ext uri="{FF2B5EF4-FFF2-40B4-BE49-F238E27FC236}">
                <a16:creationId xmlns:a16="http://schemas.microsoft.com/office/drawing/2014/main" id="{BF8D5D3D-6BE7-810C-62CD-6C3A654CCED8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Círculo">
            <a:extLst>
              <a:ext uri="{FF2B5EF4-FFF2-40B4-BE49-F238E27FC236}">
                <a16:creationId xmlns:a16="http://schemas.microsoft.com/office/drawing/2014/main" id="{22891F66-F28E-1F40-A5A2-24864F2D2353}"/>
              </a:ext>
            </a:extLst>
          </p:cNvPr>
          <p:cNvSpPr/>
          <p:nvPr userDrawn="1"/>
        </p:nvSpPr>
        <p:spPr>
          <a:xfrm>
            <a:off x="-18798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:a16="http://schemas.microsoft.com/office/drawing/2014/main" id="{6AD5C4A7-405E-7493-FF32-87D6BF8B0FCA}"/>
              </a:ext>
            </a:extLst>
          </p:cNvPr>
          <p:cNvSpPr/>
          <p:nvPr userDrawn="1"/>
        </p:nvSpPr>
        <p:spPr>
          <a:xfrm>
            <a:off x="-18798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:a16="http://schemas.microsoft.com/office/drawing/2014/main" id="{587073D5-47A7-D13C-3621-E8615B7DB09E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id="{0822431D-6A03-81D3-B148-E56D1C8BD6F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2" name="Círculo">
            <a:extLst>
              <a:ext uri="{FF2B5EF4-FFF2-40B4-BE49-F238E27FC236}">
                <a16:creationId xmlns:a16="http://schemas.microsoft.com/office/drawing/2014/main" id="{EAFF2A69-74BA-8962-CD28-232BE0C04877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7EE3EE48-AC04-0F4B-646B-D4C4CFFC37A7}"/>
              </a:ext>
            </a:extLst>
          </p:cNvPr>
          <p:cNvSpPr/>
          <p:nvPr userDrawn="1"/>
        </p:nvSpPr>
        <p:spPr>
          <a:xfrm>
            <a:off x="-1879827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Transversales 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B8A0B8E9-7911-442A-CFEB-370135407240}"/>
              </a:ext>
            </a:extLst>
          </p:cNvPr>
          <p:cNvSpPr/>
          <p:nvPr userDrawn="1"/>
        </p:nvSpPr>
        <p:spPr>
          <a:xfrm>
            <a:off x="-1879827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err="1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2AFF953A-6324-4119-F2DA-E1FFA26F6DD9}"/>
              </a:ext>
            </a:extLst>
          </p:cNvPr>
          <p:cNvSpPr/>
          <p:nvPr userDrawn="1"/>
        </p:nvSpPr>
        <p:spPr>
          <a:xfrm>
            <a:off x="-1879827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id="{32584B28-CD5F-DB9A-4978-844BA771647B}"/>
              </a:ext>
            </a:extLst>
          </p:cNvPr>
          <p:cNvSpPr/>
          <p:nvPr userDrawn="1"/>
        </p:nvSpPr>
        <p:spPr>
          <a:xfrm>
            <a:off x="-1879827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id="{D49AA315-B4CA-2252-06DB-672B988D3556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A53CB1A3-2BD7-2917-F593-B1655D2D1196}"/>
              </a:ext>
            </a:extLst>
          </p:cNvPr>
          <p:cNvSpPr/>
          <p:nvPr userDrawn="1"/>
        </p:nvSpPr>
        <p:spPr>
          <a:xfrm>
            <a:off x="-1879827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:a16="http://schemas.microsoft.com/office/drawing/2014/main" id="{7EA28F5B-1FFF-2BCA-1427-AECAC9AFCFD4}"/>
              </a:ext>
            </a:extLst>
          </p:cNvPr>
          <p:cNvSpPr/>
          <p:nvPr userDrawn="1"/>
        </p:nvSpPr>
        <p:spPr>
          <a:xfrm>
            <a:off x="-1879827" y="3241159"/>
            <a:ext cx="493539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2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46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BEC957FB-1AE1-367D-E362-70B380331ABD}"/>
              </a:ext>
            </a:extLst>
          </p:cNvPr>
          <p:cNvSpPr/>
          <p:nvPr userDrawn="1"/>
        </p:nvSpPr>
        <p:spPr>
          <a:xfrm>
            <a:off x="-1879827" y="298495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Meta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Círculo">
            <a:extLst>
              <a:ext uri="{FF2B5EF4-FFF2-40B4-BE49-F238E27FC236}">
                <a16:creationId xmlns:a16="http://schemas.microsoft.com/office/drawing/2014/main" id="{E0AC83BF-7C54-EE27-B6CF-3517470397E5}"/>
              </a:ext>
            </a:extLst>
          </p:cNvPr>
          <p:cNvSpPr/>
          <p:nvPr userDrawn="1"/>
        </p:nvSpPr>
        <p:spPr>
          <a:xfrm>
            <a:off x="-1879827" y="4030536"/>
            <a:ext cx="493539" cy="493239"/>
          </a:xfrm>
          <a:prstGeom prst="ellipse">
            <a:avLst/>
          </a:prstGeom>
          <a:solidFill>
            <a:srgbClr val="969696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5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5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50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E2053A0D-5645-FFCA-1AF9-A4A748D05FFD}"/>
              </a:ext>
            </a:extLst>
          </p:cNvPr>
          <p:cNvSpPr/>
          <p:nvPr userDrawn="1"/>
        </p:nvSpPr>
        <p:spPr>
          <a:xfrm>
            <a:off x="-1879827" y="3774334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Años anteriores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:a16="http://schemas.microsoft.com/office/drawing/2014/main" id="{EABCAF32-0037-6D43-B2DB-99C8CE653244}"/>
              </a:ext>
            </a:extLst>
          </p:cNvPr>
          <p:cNvSpPr/>
          <p:nvPr userDrawn="1"/>
        </p:nvSpPr>
        <p:spPr>
          <a:xfrm>
            <a:off x="-1879827" y="4824413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150F55BC-51C4-2822-12F4-8C69C92296B6}"/>
              </a:ext>
            </a:extLst>
          </p:cNvPr>
          <p:cNvSpPr/>
          <p:nvPr userDrawn="1"/>
        </p:nvSpPr>
        <p:spPr>
          <a:xfrm>
            <a:off x="-1879827" y="4563711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Años actual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42C80ADB-014E-174D-30EC-147190B56468}"/>
              </a:ext>
            </a:extLst>
          </p:cNvPr>
          <p:cNvSpPr/>
          <p:nvPr userDrawn="1"/>
        </p:nvSpPr>
        <p:spPr>
          <a:xfrm>
            <a:off x="-1892756" y="5425911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Unidades de medida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1BBA4EF4-3E78-F528-1F26-B3173BC4DFD7}"/>
              </a:ext>
            </a:extLst>
          </p:cNvPr>
          <p:cNvSpPr txBox="1"/>
          <p:nvPr userDrawn="1"/>
        </p:nvSpPr>
        <p:spPr>
          <a:xfrm>
            <a:off x="-1838731" y="5642177"/>
            <a:ext cx="1135535" cy="3519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CL" sz="1100">
                <a:solidFill>
                  <a:srgbClr val="000000"/>
                </a:solidFill>
              </a:rPr>
              <a:t>XX MM$</a:t>
            </a:r>
          </a:p>
          <a:p>
            <a:endParaRPr lang="es-CL" sz="1200" err="1">
              <a:solidFill>
                <a:srgbClr val="000000"/>
              </a:solidFill>
            </a:endParaRP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5D1BBB44-29CC-3F56-1976-3BEF78A66649}"/>
              </a:ext>
            </a:extLst>
          </p:cNvPr>
          <p:cNvSpPr/>
          <p:nvPr userDrawn="1"/>
        </p:nvSpPr>
        <p:spPr>
          <a:xfrm>
            <a:off x="-1892756" y="5934993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¿Cómo escribir un pie de página?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8" name="Rectángulo 107">
            <a:extLst>
              <a:ext uri="{FF2B5EF4-FFF2-40B4-BE49-F238E27FC236}">
                <a16:creationId xmlns:a16="http://schemas.microsoft.com/office/drawing/2014/main" id="{9A453620-4014-E99D-DDA7-5E0BDE8E346D}"/>
              </a:ext>
            </a:extLst>
          </p:cNvPr>
          <p:cNvSpPr/>
          <p:nvPr userDrawn="1"/>
        </p:nvSpPr>
        <p:spPr>
          <a:xfrm>
            <a:off x="-1037968" y="4563711"/>
            <a:ext cx="792432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Acumulado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9" name="Círculo">
            <a:extLst>
              <a:ext uri="{FF2B5EF4-FFF2-40B4-BE49-F238E27FC236}">
                <a16:creationId xmlns:a16="http://schemas.microsoft.com/office/drawing/2014/main" id="{04A30BD2-F06E-9087-5D4F-0C7296739665}"/>
              </a:ext>
            </a:extLst>
          </p:cNvPr>
          <p:cNvSpPr/>
          <p:nvPr userDrawn="1"/>
        </p:nvSpPr>
        <p:spPr>
          <a:xfrm>
            <a:off x="-991062" y="482441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1A8C27A4-2B0A-94C6-B229-A24DCE3B085B}"/>
              </a:ext>
            </a:extLst>
          </p:cNvPr>
          <p:cNvSpPr txBox="1"/>
          <p:nvPr userDrawn="1"/>
        </p:nvSpPr>
        <p:spPr>
          <a:xfrm>
            <a:off x="-1851660" y="6258137"/>
            <a:ext cx="1722106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es-CL" sz="1050">
                <a:solidFill>
                  <a:srgbClr val="000000"/>
                </a:solidFill>
              </a:rPr>
              <a:t>(1) Achs; (2) Achs; (3) Achs</a:t>
            </a:r>
          </a:p>
          <a:p>
            <a:endParaRPr lang="es-CL" sz="105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228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  <p:sldLayoutId id="2147484094" r:id="rId12"/>
    <p:sldLayoutId id="2147484095" r:id="rId13"/>
    <p:sldLayoutId id="2147484096" r:id="rId14"/>
    <p:sldLayoutId id="2147484097" r:id="rId15"/>
    <p:sldLayoutId id="2147484098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1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6725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‒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2938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23913" indent="-28575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04888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q"/>
        <a:defRPr lang="es-CL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26" Type="http://schemas.openxmlformats.org/officeDocument/2006/relationships/tags" Target="../tags/tag156.xml"/><Relationship Id="rId39" Type="http://schemas.openxmlformats.org/officeDocument/2006/relationships/tags" Target="../tags/tag169.xml"/><Relationship Id="rId21" Type="http://schemas.openxmlformats.org/officeDocument/2006/relationships/tags" Target="../tags/tag151.xml"/><Relationship Id="rId34" Type="http://schemas.openxmlformats.org/officeDocument/2006/relationships/tags" Target="../tags/tag164.xml"/><Relationship Id="rId42" Type="http://schemas.openxmlformats.org/officeDocument/2006/relationships/tags" Target="../tags/tag172.xml"/><Relationship Id="rId47" Type="http://schemas.openxmlformats.org/officeDocument/2006/relationships/image" Target="../media/image62.jpeg"/><Relationship Id="rId7" Type="http://schemas.openxmlformats.org/officeDocument/2006/relationships/tags" Target="../tags/tag137.xml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9" Type="http://schemas.openxmlformats.org/officeDocument/2006/relationships/tags" Target="../tags/tag159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24" Type="http://schemas.openxmlformats.org/officeDocument/2006/relationships/tags" Target="../tags/tag154.xml"/><Relationship Id="rId32" Type="http://schemas.openxmlformats.org/officeDocument/2006/relationships/tags" Target="../tags/tag162.xml"/><Relationship Id="rId37" Type="http://schemas.openxmlformats.org/officeDocument/2006/relationships/tags" Target="../tags/tag167.xml"/><Relationship Id="rId40" Type="http://schemas.openxmlformats.org/officeDocument/2006/relationships/tags" Target="../tags/tag170.xml"/><Relationship Id="rId45" Type="http://schemas.openxmlformats.org/officeDocument/2006/relationships/oleObject" Target="../embeddings/oleObject102.bin"/><Relationship Id="rId5" Type="http://schemas.openxmlformats.org/officeDocument/2006/relationships/tags" Target="../tags/tag135.xml"/><Relationship Id="rId15" Type="http://schemas.openxmlformats.org/officeDocument/2006/relationships/tags" Target="../tags/tag145.xml"/><Relationship Id="rId23" Type="http://schemas.openxmlformats.org/officeDocument/2006/relationships/tags" Target="../tags/tag153.xml"/><Relationship Id="rId28" Type="http://schemas.openxmlformats.org/officeDocument/2006/relationships/tags" Target="../tags/tag158.xml"/><Relationship Id="rId36" Type="http://schemas.openxmlformats.org/officeDocument/2006/relationships/tags" Target="../tags/tag166.xml"/><Relationship Id="rId10" Type="http://schemas.openxmlformats.org/officeDocument/2006/relationships/tags" Target="../tags/tag140.xml"/><Relationship Id="rId19" Type="http://schemas.openxmlformats.org/officeDocument/2006/relationships/tags" Target="../tags/tag149.xml"/><Relationship Id="rId31" Type="http://schemas.openxmlformats.org/officeDocument/2006/relationships/tags" Target="../tags/tag161.xml"/><Relationship Id="rId44" Type="http://schemas.openxmlformats.org/officeDocument/2006/relationships/slideLayout" Target="../slideLayouts/slideLayout63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tags" Target="../tags/tag152.xml"/><Relationship Id="rId27" Type="http://schemas.openxmlformats.org/officeDocument/2006/relationships/tags" Target="../tags/tag157.xml"/><Relationship Id="rId30" Type="http://schemas.openxmlformats.org/officeDocument/2006/relationships/tags" Target="../tags/tag160.xml"/><Relationship Id="rId35" Type="http://schemas.openxmlformats.org/officeDocument/2006/relationships/tags" Target="../tags/tag165.xml"/><Relationship Id="rId43" Type="http://schemas.openxmlformats.org/officeDocument/2006/relationships/tags" Target="../tags/tag173.xml"/><Relationship Id="rId8" Type="http://schemas.openxmlformats.org/officeDocument/2006/relationships/tags" Target="../tags/tag138.xml"/><Relationship Id="rId3" Type="http://schemas.openxmlformats.org/officeDocument/2006/relationships/tags" Target="../tags/tag133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5" Type="http://schemas.openxmlformats.org/officeDocument/2006/relationships/tags" Target="../tags/tag155.xml"/><Relationship Id="rId33" Type="http://schemas.openxmlformats.org/officeDocument/2006/relationships/tags" Target="../tags/tag163.xml"/><Relationship Id="rId38" Type="http://schemas.openxmlformats.org/officeDocument/2006/relationships/tags" Target="../tags/tag168.xml"/><Relationship Id="rId46" Type="http://schemas.openxmlformats.org/officeDocument/2006/relationships/image" Target="../media/image42.emf"/><Relationship Id="rId20" Type="http://schemas.openxmlformats.org/officeDocument/2006/relationships/tags" Target="../tags/tag150.xml"/><Relationship Id="rId41" Type="http://schemas.openxmlformats.org/officeDocument/2006/relationships/tags" Target="../tags/tag1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3E9353-D4E8-937A-A11E-E29FE74DBEE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14259" y="2617148"/>
            <a:ext cx="5361957" cy="1300367"/>
          </a:xfr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s-CL" dirty="0"/>
              <a:t>StockWise</a:t>
            </a:r>
          </a:p>
          <a:p>
            <a:r>
              <a:rPr lang="es-CL" sz="1800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istema de Gestión y Optimización de Inventarios</a:t>
            </a:r>
            <a:endParaRPr lang="es-CL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E22D20C-3223-9387-FFD2-FEAA986A84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14259" y="2145875"/>
            <a:ext cx="1700941" cy="471273"/>
          </a:xfrm>
        </p:spPr>
        <p:txBody>
          <a:bodyPr lIns="91440" tIns="45720" rIns="91440" bIns="45720" anchor="t"/>
          <a:lstStyle/>
          <a:p>
            <a:r>
              <a:rPr lang="es-CL" b="1" dirty="0">
                <a:latin typeface="Arial"/>
                <a:cs typeface="Arial"/>
              </a:rPr>
              <a:t>Septiembre 2024</a:t>
            </a:r>
            <a:endParaRPr lang="es-ES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642FE777-937E-4144-AF41-9550C343AA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97888" y="4007391"/>
            <a:ext cx="5320002" cy="1550926"/>
          </a:xfrm>
        </p:spPr>
        <p:txBody>
          <a:bodyPr/>
          <a:lstStyle/>
          <a:p>
            <a:r>
              <a:rPr lang="es-CL" dirty="0"/>
              <a:t>Martin Salazar</a:t>
            </a:r>
          </a:p>
          <a:p>
            <a:r>
              <a:rPr lang="es-CL" dirty="0"/>
              <a:t>Javier Martínez</a:t>
            </a:r>
          </a:p>
          <a:p>
            <a:r>
              <a:rPr lang="es-CL" dirty="0"/>
              <a:t>Jorge Muñoz</a:t>
            </a:r>
          </a:p>
        </p:txBody>
      </p:sp>
      <p:pic>
        <p:nvPicPr>
          <p:cNvPr id="5" name="Imagen 4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77BFA5F3-57B1-7289-7D3B-8F61A723FC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393" y="1299682"/>
            <a:ext cx="4258635" cy="4258635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4466042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7AD468B-D6B0-16E5-4AC1-379B1ACC97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482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5" imgW="395" imgH="396" progId="TCLayout.ActiveDocument.1">
                  <p:embed/>
                </p:oleObj>
              </mc:Choice>
              <mc:Fallback>
                <p:oleObj name="Diapositiva de think-cell" r:id="rId45" imgW="395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7AD468B-D6B0-16E5-4AC1-379B1ACC9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texto 4"/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/>
              <a:t>Carta Gantt</a:t>
            </a:r>
          </a:p>
          <a:p>
            <a:endParaRPr lang="es-CL" dirty="0"/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63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93411294-A0AB-1D70-8401-DD5F3C80077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36563" y="1338263"/>
            <a:ext cx="11299825" cy="157163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4" name="Marcador de texto 6">
            <a:extLst>
              <a:ext uri="{FF2B5EF4-FFF2-40B4-BE49-F238E27FC236}">
                <a16:creationId xmlns:a16="http://schemas.microsoft.com/office/drawing/2014/main" id="{803D4E87-EED6-5E6F-CAEB-9C6FA1C015D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828925" y="1166813"/>
            <a:ext cx="598488" cy="1714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s-CL" altLang="en-US" sz="1000" b="1" dirty="0" err="1">
                <a:solidFill>
                  <a:srgbClr val="FFFFFF"/>
                </a:solidFill>
                <a:effectLst/>
              </a:rPr>
              <a:t>ago</a:t>
            </a:r>
            <a:endParaRPr kumimoji="0" lang="es-CL" sz="1000" b="1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86" name="Marcador de texto 6">
            <a:extLst>
              <a:ext uri="{FF2B5EF4-FFF2-40B4-BE49-F238E27FC236}">
                <a16:creationId xmlns:a16="http://schemas.microsoft.com/office/drawing/2014/main" id="{811B4351-D832-C083-A020-48C64C15D2C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427414" y="1166813"/>
            <a:ext cx="1882775" cy="1714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s-CL" altLang="en-US" sz="1000" b="1" dirty="0" err="1">
                <a:solidFill>
                  <a:srgbClr val="FFFFFF"/>
                </a:solidFill>
                <a:effectLst/>
              </a:rPr>
              <a:t>Sep</a:t>
            </a:r>
            <a:endParaRPr kumimoji="0" lang="es-CL" sz="1000" b="1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88" name="Marcador de texto 6">
            <a:extLst>
              <a:ext uri="{FF2B5EF4-FFF2-40B4-BE49-F238E27FC236}">
                <a16:creationId xmlns:a16="http://schemas.microsoft.com/office/drawing/2014/main" id="{4B61B117-829B-340A-B331-7B219D66625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310188" y="1166813"/>
            <a:ext cx="1797050" cy="1714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s-CL" altLang="en-US" sz="1000" b="1" dirty="0">
                <a:solidFill>
                  <a:srgbClr val="FFFFFF"/>
                </a:solidFill>
                <a:effectLst/>
              </a:rPr>
              <a:t>Oct</a:t>
            </a:r>
            <a:endParaRPr kumimoji="0" lang="es-CL" sz="1000" b="1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1" name="Marcador de texto 6">
            <a:extLst>
              <a:ext uri="{FF2B5EF4-FFF2-40B4-BE49-F238E27FC236}">
                <a16:creationId xmlns:a16="http://schemas.microsoft.com/office/drawing/2014/main" id="{01E69202-2FA6-60BE-78E6-BF5356D339A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107238" y="1166813"/>
            <a:ext cx="1966913" cy="1714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s-CL" altLang="en-US" sz="1000" b="1" dirty="0">
                <a:solidFill>
                  <a:srgbClr val="FFFFFF"/>
                </a:solidFill>
                <a:effectLst/>
              </a:rPr>
              <a:t>Nov</a:t>
            </a:r>
            <a:endParaRPr kumimoji="0" lang="es-CL" sz="1000" b="1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4" name="Marcador de texto 6">
            <a:extLst>
              <a:ext uri="{FF2B5EF4-FFF2-40B4-BE49-F238E27FC236}">
                <a16:creationId xmlns:a16="http://schemas.microsoft.com/office/drawing/2014/main" id="{DA1A8465-5D05-CA83-4111-5D5647D5229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074150" y="1166813"/>
            <a:ext cx="1797050" cy="1714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s-CL" altLang="en-US" sz="1000" b="1" dirty="0">
                <a:solidFill>
                  <a:srgbClr val="FFFFFF"/>
                </a:solidFill>
                <a:effectLst/>
              </a:rPr>
              <a:t>Dic</a:t>
            </a:r>
            <a:endParaRPr kumimoji="0" lang="es-CL" sz="1000" b="1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+mn-lt"/>
            </a:endParaRPr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A7ACC6E8-188F-B636-4230-C06910CEA83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074150" y="1338263"/>
            <a:ext cx="0" cy="4659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Conector recto 184">
            <a:extLst>
              <a:ext uri="{FF2B5EF4-FFF2-40B4-BE49-F238E27FC236}">
                <a16:creationId xmlns:a16="http://schemas.microsoft.com/office/drawing/2014/main" id="{F2739CEF-09DE-D9B5-C38B-084F2300BBA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1736388" y="1338263"/>
            <a:ext cx="0" cy="4659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DFE7223B-CC01-6C21-62E0-506D4A2D45B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36563" y="1338263"/>
            <a:ext cx="0" cy="4659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B89D5DDC-0B9C-D182-00CB-F56D29385A0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828925" y="1338263"/>
            <a:ext cx="0" cy="4659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189B1367-0725-71F2-CE0A-B3303F28EB9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871200" y="1338263"/>
            <a:ext cx="0" cy="4659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Conector recto 88">
            <a:extLst>
              <a:ext uri="{FF2B5EF4-FFF2-40B4-BE49-F238E27FC236}">
                <a16:creationId xmlns:a16="http://schemas.microsoft.com/office/drawing/2014/main" id="{11620A40-BCD9-8621-4ED8-B4BC32C97512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3427413" y="1338263"/>
            <a:ext cx="0" cy="4659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5BF29E60-A7E9-BA89-0D97-EBE0AD0F47B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5310188" y="1338263"/>
            <a:ext cx="0" cy="4659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Conector recto 92">
            <a:extLst>
              <a:ext uri="{FF2B5EF4-FFF2-40B4-BE49-F238E27FC236}">
                <a16:creationId xmlns:a16="http://schemas.microsoft.com/office/drawing/2014/main" id="{97F85A83-2E7A-3652-478A-2B9CDCF0D39B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107238" y="1338263"/>
            <a:ext cx="0" cy="4659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329F7A4A-EE5A-B1B4-86EA-26C5A308B724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76213" y="2614613"/>
            <a:ext cx="112998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AC6C15CA-7765-6E5D-28EA-450E6183D05C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436563" y="5997575"/>
            <a:ext cx="112998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4CE9DB7E-D55F-8832-3D63-7E63D1653DA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436563" y="1338263"/>
            <a:ext cx="112998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" name="Marcador de texto 6">
            <a:extLst>
              <a:ext uri="{FF2B5EF4-FFF2-40B4-BE49-F238E27FC236}">
                <a16:creationId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103691" y="1995492"/>
            <a:ext cx="587806" cy="165328"/>
          </a:xfrm>
          <a:prstGeom prst="homePlate">
            <a:avLst>
              <a:gd name="adj" fmla="val 18243"/>
            </a:avLst>
          </a:prstGeom>
          <a:solidFill>
            <a:schemeClr val="accent1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04" name="Marcador de texto 6">
            <a:extLst>
              <a:ext uri="{FF2B5EF4-FFF2-40B4-BE49-F238E27FC236}">
                <a16:creationId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247606" y="3908425"/>
            <a:ext cx="2714864" cy="213681"/>
          </a:xfrm>
          <a:prstGeom prst="homePlate">
            <a:avLst>
              <a:gd name="adj" fmla="val 18243"/>
            </a:avLst>
          </a:prstGeom>
          <a:solidFill>
            <a:srgbClr val="00B0F0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71" name="Marcador de texto 6">
            <a:extLst>
              <a:ext uri="{FF2B5EF4-FFF2-40B4-BE49-F238E27FC236}">
                <a16:creationId xmlns:a16="http://schemas.microsoft.com/office/drawing/2014/main" id="{1201F7F9-A8F3-F43F-C24B-1BF84DAE912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107238" y="4467225"/>
            <a:ext cx="1881188" cy="234950"/>
          </a:xfrm>
          <a:prstGeom prst="homePlate">
            <a:avLst>
              <a:gd name="adj" fmla="val 18243"/>
            </a:avLst>
          </a:prstGeom>
          <a:solidFill>
            <a:srgbClr val="FF0000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63" name="Marcador de texto 6">
            <a:extLst>
              <a:ext uri="{FF2B5EF4-FFF2-40B4-BE49-F238E27FC236}">
                <a16:creationId xmlns:a16="http://schemas.microsoft.com/office/drawing/2014/main" id="{504C2BEC-6E3C-0E48-FE7C-1FFE9FF6C7F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100616" y="1709509"/>
            <a:ext cx="6905396" cy="208510"/>
          </a:xfrm>
          <a:prstGeom prst="homePlate">
            <a:avLst>
              <a:gd name="adj" fmla="val 18243"/>
            </a:avLst>
          </a:prstGeom>
          <a:solidFill>
            <a:schemeClr val="accent1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66" name="Marcador de texto 6">
            <a:extLst>
              <a:ext uri="{FF2B5EF4-FFF2-40B4-BE49-F238E27FC236}">
                <a16:creationId xmlns:a16="http://schemas.microsoft.com/office/drawing/2014/main" id="{726CA2DF-9F82-C5D6-FE7E-3879EF25344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694790" y="2790826"/>
            <a:ext cx="6192142" cy="200580"/>
          </a:xfrm>
          <a:prstGeom prst="homePlate">
            <a:avLst>
              <a:gd name="adj" fmla="val 18243"/>
            </a:avLst>
          </a:prstGeom>
          <a:solidFill>
            <a:srgbClr val="FFC000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67" name="Marcador de texto 6">
            <a:extLst>
              <a:ext uri="{FF2B5EF4-FFF2-40B4-BE49-F238E27FC236}">
                <a16:creationId xmlns:a16="http://schemas.microsoft.com/office/drawing/2014/main" id="{AA2B3008-1972-349D-CCB5-5D503C1EB8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799304" y="3278016"/>
            <a:ext cx="1508019" cy="224860"/>
          </a:xfrm>
          <a:prstGeom prst="homePlate">
            <a:avLst>
              <a:gd name="adj" fmla="val 18243"/>
            </a:avLst>
          </a:prstGeom>
          <a:solidFill>
            <a:srgbClr val="FFC000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68" name="Marcador de texto 6">
            <a:extLst>
              <a:ext uri="{FF2B5EF4-FFF2-40B4-BE49-F238E27FC236}">
                <a16:creationId xmlns:a16="http://schemas.microsoft.com/office/drawing/2014/main" id="{05A87021-883D-4B73-2292-E92489844F1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700679" y="3030994"/>
            <a:ext cx="6192154" cy="200580"/>
          </a:xfrm>
          <a:prstGeom prst="homePlate">
            <a:avLst>
              <a:gd name="adj" fmla="val 18243"/>
            </a:avLst>
          </a:prstGeom>
          <a:solidFill>
            <a:srgbClr val="FFC000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69" name="Marcador de texto 6">
            <a:extLst>
              <a:ext uri="{FF2B5EF4-FFF2-40B4-BE49-F238E27FC236}">
                <a16:creationId xmlns:a16="http://schemas.microsoft.com/office/drawing/2014/main" id="{FB6312DC-1CC6-EA62-66A9-CCC4F5B04CD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770314" y="4187825"/>
            <a:ext cx="6192156" cy="251961"/>
          </a:xfrm>
          <a:prstGeom prst="homePlate">
            <a:avLst>
              <a:gd name="adj" fmla="val 18243"/>
            </a:avLst>
          </a:prstGeom>
          <a:solidFill>
            <a:srgbClr val="FF0000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70" name="Marcador de texto 6">
            <a:extLst>
              <a:ext uri="{FF2B5EF4-FFF2-40B4-BE49-F238E27FC236}">
                <a16:creationId xmlns:a16="http://schemas.microsoft.com/office/drawing/2014/main" id="{65699E63-F1B3-42E5-FC9B-607F97C05BB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785347" y="3533776"/>
            <a:ext cx="1521969" cy="186550"/>
          </a:xfrm>
          <a:prstGeom prst="homePlate">
            <a:avLst>
              <a:gd name="adj" fmla="val 18243"/>
            </a:avLst>
          </a:prstGeom>
          <a:solidFill>
            <a:srgbClr val="00B0F0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74" name="Marcador de texto 6">
            <a:extLst>
              <a:ext uri="{FF2B5EF4-FFF2-40B4-BE49-F238E27FC236}">
                <a16:creationId xmlns:a16="http://schemas.microsoft.com/office/drawing/2014/main" id="{90F1022F-E124-82DE-77E8-3BE9A6FE6B0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074149" y="4719185"/>
            <a:ext cx="1057069" cy="234950"/>
          </a:xfrm>
          <a:prstGeom prst="homePlate">
            <a:avLst>
              <a:gd name="adj" fmla="val 18243"/>
            </a:avLst>
          </a:prstGeom>
          <a:solidFill>
            <a:srgbClr val="FF0000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77" name="Marcador de texto 6">
            <a:extLst>
              <a:ext uri="{FF2B5EF4-FFF2-40B4-BE49-F238E27FC236}">
                <a16:creationId xmlns:a16="http://schemas.microsoft.com/office/drawing/2014/main" id="{D74E0F46-1374-164B-6A0B-AF6B061E434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107239" y="5026025"/>
            <a:ext cx="2898769" cy="193675"/>
          </a:xfrm>
          <a:prstGeom prst="homePlate">
            <a:avLst>
              <a:gd name="adj" fmla="val 18243"/>
            </a:avLst>
          </a:prstGeom>
          <a:solidFill>
            <a:schemeClr val="accent1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78" name="Marcador de texto 6">
            <a:extLst>
              <a:ext uri="{FF2B5EF4-FFF2-40B4-BE49-F238E27FC236}">
                <a16:creationId xmlns:a16="http://schemas.microsoft.com/office/drawing/2014/main" id="{4BD09F0D-7924-B0FF-B111-4A46F2A3129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754211" y="2326481"/>
            <a:ext cx="2109543" cy="208510"/>
          </a:xfrm>
          <a:prstGeom prst="homePlate">
            <a:avLst>
              <a:gd name="adj" fmla="val 18243"/>
            </a:avLst>
          </a:prstGeom>
          <a:solidFill>
            <a:srgbClr val="7030A0"/>
          </a:solidFill>
          <a:ln w="9525" cmpd="sng" algn="ctr">
            <a:solidFill>
              <a:schemeClr val="bg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48" name="Rectángulo 147">
            <a:extLst>
              <a:ext uri="{FF2B5EF4-FFF2-40B4-BE49-F238E27FC236}">
                <a16:creationId xmlns:a16="http://schemas.microsoft.com/office/drawing/2014/main" id="{E642DDBB-6C4E-6F15-DE2F-E6EEACEAA363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501877" y="1750784"/>
            <a:ext cx="644525" cy="152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lvl="0" defTabSz="825500">
              <a:spcBef>
                <a:spcPct val="0"/>
              </a:spcBef>
              <a:spcAft>
                <a:spcPct val="0"/>
              </a:spcAft>
            </a:pPr>
            <a:r>
              <a:rPr kumimoji="0" lang="es-CL" sz="1000" b="1" i="0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sym typeface="+mn-lt"/>
              </a:rPr>
              <a:t>Análisis de Requerimientos</a:t>
            </a:r>
          </a:p>
        </p:txBody>
      </p:sp>
      <p:sp>
        <p:nvSpPr>
          <p:cNvPr id="144" name="Rectángulo 143">
            <a:extLst>
              <a:ext uri="{FF2B5EF4-FFF2-40B4-BE49-F238E27FC236}">
                <a16:creationId xmlns:a16="http://schemas.microsoft.com/office/drawing/2014/main" id="{B95DABF2-E9B5-119F-9951-97EEE8EC95D4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501877" y="2030184"/>
            <a:ext cx="1033463" cy="15240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lvl="0" defTabSz="825500">
              <a:spcBef>
                <a:spcPct val="0"/>
              </a:spcBef>
              <a:spcAft>
                <a:spcPct val="0"/>
              </a:spcAft>
            </a:pPr>
            <a:r>
              <a:rPr kumimoji="0" lang="es-CL" sz="1000" b="1" i="0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sym typeface="+mn-lt"/>
              </a:rPr>
              <a:t>Definición del Alcance y Metodología</a:t>
            </a:r>
          </a:p>
        </p:txBody>
      </p:sp>
      <p:sp>
        <p:nvSpPr>
          <p:cNvPr id="146" name="Rectángulo 145">
            <a:extLst>
              <a:ext uri="{FF2B5EF4-FFF2-40B4-BE49-F238E27FC236}">
                <a16:creationId xmlns:a16="http://schemas.microsoft.com/office/drawing/2014/main" id="{F274B18F-FC83-C51B-EAD4-DEB3867556AB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487364" y="3949700"/>
            <a:ext cx="1046163" cy="152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lvl="0" defTabSz="825500">
              <a:spcBef>
                <a:spcPct val="0"/>
              </a:spcBef>
              <a:spcAft>
                <a:spcPct val="0"/>
              </a:spcAft>
            </a:pPr>
            <a:r>
              <a:rPr lang="es-CL" altLang="en-US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Desarrollo de </a:t>
            </a:r>
            <a:r>
              <a:rPr lang="es-CL" altLang="en-US" sz="1000" b="1" dirty="0" err="1">
                <a:solidFill>
                  <a:srgbClr val="000000">
                    <a:lumMod val="75000"/>
                    <a:lumOff val="25000"/>
                  </a:srgbClr>
                </a:solidFill>
              </a:rPr>
              <a:t>Dashboards</a:t>
            </a:r>
            <a:r>
              <a:rPr lang="es-CL" altLang="en-US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 e Informes BI</a:t>
            </a:r>
            <a:endParaRPr kumimoji="0" lang="es-CL" sz="1000" b="1" i="0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52" name="Rectángulo 151">
            <a:extLst>
              <a:ext uri="{FF2B5EF4-FFF2-40B4-BE49-F238E27FC236}">
                <a16:creationId xmlns:a16="http://schemas.microsoft.com/office/drawing/2014/main" id="{0402C61E-7D70-4D4C-F0A0-CA7AE06B8AAF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501877" y="2309584"/>
            <a:ext cx="2220913" cy="152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lvl="0" defTabSz="825500">
              <a:spcBef>
                <a:spcPct val="0"/>
              </a:spcBef>
              <a:spcAft>
                <a:spcPct val="0"/>
              </a:spcAft>
            </a:pPr>
            <a:r>
              <a:rPr lang="es-CL" altLang="en-US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Diseño del Sistema (UI/UX y Base de Datos)</a:t>
            </a:r>
            <a:endParaRPr kumimoji="0" lang="es-CL" sz="1000" b="1" i="0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DFF1BFD7-65EA-C807-2045-F243E52D4F1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487364" y="2832100"/>
            <a:ext cx="792163" cy="152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825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sym typeface="+mn-lt"/>
              </a:rPr>
              <a:t>Desarrollo del </a:t>
            </a:r>
            <a:r>
              <a:rPr kumimoji="0" lang="es-CL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sym typeface="+mn-lt"/>
              </a:rPr>
              <a:t>Backend</a:t>
            </a:r>
            <a:endParaRPr kumimoji="0" lang="es-CL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3AEA117D-633C-3A66-C4BF-F295C66D6BE5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487364" y="3390900"/>
            <a:ext cx="1641475" cy="152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825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1000" b="1" dirty="0">
                <a:solidFill>
                  <a:srgbClr val="000000">
                    <a:lumMod val="75000"/>
                    <a:lumOff val="25000"/>
                  </a:srgbClr>
                </a:solidFill>
                <a:sym typeface="+mn-lt"/>
              </a:rPr>
              <a:t>Integración de </a:t>
            </a:r>
            <a:r>
              <a:rPr lang="es-CL" sz="1000" b="1" dirty="0" err="1">
                <a:solidFill>
                  <a:srgbClr val="000000">
                    <a:lumMod val="75000"/>
                    <a:lumOff val="25000"/>
                  </a:srgbClr>
                </a:solidFill>
                <a:sym typeface="+mn-lt"/>
              </a:rPr>
              <a:t>Backend</a:t>
            </a:r>
            <a:r>
              <a:rPr lang="es-CL" sz="1000" b="1" dirty="0">
                <a:solidFill>
                  <a:srgbClr val="000000">
                    <a:lumMod val="75000"/>
                    <a:lumOff val="25000"/>
                  </a:srgbClr>
                </a:solidFill>
                <a:sym typeface="+mn-lt"/>
              </a:rPr>
              <a:t> y </a:t>
            </a:r>
            <a:r>
              <a:rPr lang="es-CL" sz="1000" b="1" dirty="0" err="1">
                <a:solidFill>
                  <a:srgbClr val="000000">
                    <a:lumMod val="75000"/>
                    <a:lumOff val="25000"/>
                  </a:srgbClr>
                </a:solidFill>
                <a:sym typeface="+mn-lt"/>
              </a:rPr>
              <a:t>Frontend</a:t>
            </a:r>
            <a:endParaRPr kumimoji="0" lang="es-CL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366DC784-F481-4388-5CC9-4AF3F2CAADA5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487363" y="3111500"/>
            <a:ext cx="1174750" cy="152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825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sym typeface="+mn-lt"/>
              </a:rPr>
              <a:t>Desarrollo del </a:t>
            </a:r>
            <a:r>
              <a:rPr kumimoji="0" lang="es-CL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sym typeface="+mn-lt"/>
              </a:rPr>
              <a:t>Frontend</a:t>
            </a:r>
            <a:endParaRPr kumimoji="0" lang="es-CL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58" name="Rectángulo 157">
            <a:extLst>
              <a:ext uri="{FF2B5EF4-FFF2-40B4-BE49-F238E27FC236}">
                <a16:creationId xmlns:a16="http://schemas.microsoft.com/office/drawing/2014/main" id="{7D17C263-1040-04B0-C3AD-5276B4F23814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487364" y="3670300"/>
            <a:ext cx="950913" cy="152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lvl="0" defTabSz="825500">
              <a:spcBef>
                <a:spcPct val="0"/>
              </a:spcBef>
              <a:spcAft>
                <a:spcPct val="0"/>
              </a:spcAft>
            </a:pPr>
            <a:r>
              <a:rPr kumimoji="0" lang="es-CL" sz="1000" b="1" i="0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sym typeface="+mn-lt"/>
              </a:rPr>
              <a:t>Implementación del Análisis Predictivo</a:t>
            </a:r>
          </a:p>
        </p:txBody>
      </p:sp>
      <p:sp>
        <p:nvSpPr>
          <p:cNvPr id="175" name="Rectángulo 174">
            <a:extLst>
              <a:ext uri="{FF2B5EF4-FFF2-40B4-BE49-F238E27FC236}">
                <a16:creationId xmlns:a16="http://schemas.microsoft.com/office/drawing/2014/main" id="{80B38161-EAF5-2265-0575-9B01D41247D3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487363" y="5067300"/>
            <a:ext cx="1193800" cy="152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lvl="0" defTabSz="825500">
              <a:spcBef>
                <a:spcPct val="0"/>
              </a:spcBef>
              <a:spcAft>
                <a:spcPct val="0"/>
              </a:spcAft>
            </a:pPr>
            <a:r>
              <a:rPr kumimoji="0" lang="es-CL" sz="1000" b="1" i="0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sym typeface="+mn-lt"/>
              </a:rPr>
              <a:t>Documentación Final y Entrega del Proyecto</a:t>
            </a:r>
          </a:p>
        </p:txBody>
      </p:sp>
      <p:sp>
        <p:nvSpPr>
          <p:cNvPr id="160" name="Rectángulo 159">
            <a:extLst>
              <a:ext uri="{FF2B5EF4-FFF2-40B4-BE49-F238E27FC236}">
                <a16:creationId xmlns:a16="http://schemas.microsoft.com/office/drawing/2014/main" id="{23CA2F4F-DDEC-9277-FEAA-A714E07DC386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487363" y="4508500"/>
            <a:ext cx="2290763" cy="152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lvl="0" defTabSz="825500">
              <a:spcBef>
                <a:spcPct val="0"/>
              </a:spcBef>
              <a:spcAft>
                <a:spcPct val="0"/>
              </a:spcAft>
            </a:pPr>
            <a:r>
              <a:rPr kumimoji="0" lang="es-CL" sz="1000" b="1" i="0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sym typeface="+mn-lt"/>
              </a:rPr>
              <a:t>Corrección de Errores y Optimización</a:t>
            </a:r>
          </a:p>
        </p:txBody>
      </p:sp>
      <p:sp>
        <p:nvSpPr>
          <p:cNvPr id="172" name="Rectángulo 171">
            <a:extLst>
              <a:ext uri="{FF2B5EF4-FFF2-40B4-BE49-F238E27FC236}">
                <a16:creationId xmlns:a16="http://schemas.microsoft.com/office/drawing/2014/main" id="{0D23697F-B3B5-EC0A-928F-8D16F79DB154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487363" y="4787900"/>
            <a:ext cx="963613" cy="152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lvl="0" defTabSz="825500">
              <a:spcBef>
                <a:spcPct val="0"/>
              </a:spcBef>
              <a:spcAft>
                <a:spcPct val="0"/>
              </a:spcAft>
            </a:pPr>
            <a:r>
              <a:rPr kumimoji="0" lang="es-CL" sz="1000" b="1" i="0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sym typeface="+mn-lt"/>
              </a:rPr>
              <a:t>Despliegue y Capacitación de Usuarios</a:t>
            </a:r>
          </a:p>
        </p:txBody>
      </p:sp>
      <p:sp>
        <p:nvSpPr>
          <p:cNvPr id="183" name="Marcador de texto 6">
            <a:extLst>
              <a:ext uri="{FF2B5EF4-FFF2-40B4-BE49-F238E27FC236}">
                <a16:creationId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922000" y="1184275"/>
            <a:ext cx="485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s-419" sz="1000" b="1" dirty="0">
              <a:sym typeface="+mn-lt"/>
            </a:endParaRPr>
          </a:p>
        </p:txBody>
      </p:sp>
      <p:sp>
        <p:nvSpPr>
          <p:cNvPr id="156" name="Rectángulo 155">
            <a:extLst>
              <a:ext uri="{FF2B5EF4-FFF2-40B4-BE49-F238E27FC236}">
                <a16:creationId xmlns:a16="http://schemas.microsoft.com/office/drawing/2014/main" id="{3B6E56D0-3653-5616-8021-2F6101E93E7D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487363" y="4229100"/>
            <a:ext cx="1168400" cy="152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t" anchorCtr="0">
            <a:noAutofit/>
          </a:bodyPr>
          <a:lstStyle/>
          <a:p>
            <a:pPr lvl="0" defTabSz="825500">
              <a:spcBef>
                <a:spcPct val="0"/>
              </a:spcBef>
              <a:spcAft>
                <a:spcPct val="0"/>
              </a:spcAft>
            </a:pPr>
            <a:r>
              <a:rPr lang="es-CL" sz="1000" b="1" dirty="0">
                <a:solidFill>
                  <a:srgbClr val="000000">
                    <a:lumMod val="75000"/>
                    <a:lumOff val="25000"/>
                  </a:srgbClr>
                </a:solidFill>
                <a:sym typeface="+mn-lt"/>
              </a:rPr>
              <a:t>Pruebas de la Aplicación</a:t>
            </a:r>
            <a:endParaRPr kumimoji="0" lang="es-CL" sz="1000" b="1" i="0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5CA5AAE-EF68-7209-818D-37FB8FCB444A}"/>
              </a:ext>
            </a:extLst>
          </p:cNvPr>
          <p:cNvSpPr txBox="1">
            <a:spLocks/>
          </p:cNvSpPr>
          <p:nvPr/>
        </p:nvSpPr>
        <p:spPr>
          <a:xfrm>
            <a:off x="449262" y="174858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CL" sz="1200" i="0" u="none" strike="noStrike" kern="0" cap="none" spc="0" normalizeH="0" baseline="0" noProof="0" dirty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8C41E3D2-20B9-E172-5EC1-52CE8A73EFD2}"/>
              </a:ext>
            </a:extLst>
          </p:cNvPr>
          <p:cNvCxnSpPr>
            <a:cxnSpLocks/>
          </p:cNvCxnSpPr>
          <p:nvPr/>
        </p:nvCxnSpPr>
        <p:spPr>
          <a:xfrm>
            <a:off x="3708616" y="1495425"/>
            <a:ext cx="0" cy="478155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uadroTexto 8">
            <a:extLst>
              <a:ext uri="{FF2B5EF4-FFF2-40B4-BE49-F238E27FC236}">
                <a16:creationId xmlns:a16="http://schemas.microsoft.com/office/drawing/2014/main" id="{1ECF6C5D-B1DE-9AA7-D637-CAD99C5F471B}"/>
              </a:ext>
            </a:extLst>
          </p:cNvPr>
          <p:cNvSpPr txBox="1"/>
          <p:nvPr/>
        </p:nvSpPr>
        <p:spPr>
          <a:xfrm>
            <a:off x="3468683" y="6320218"/>
            <a:ext cx="6747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Hoy día</a:t>
            </a:r>
          </a:p>
        </p:txBody>
      </p:sp>
      <p:pic>
        <p:nvPicPr>
          <p:cNvPr id="13" name="Imagen 12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CC213FAF-4555-B1CD-8803-E8B26E0000C1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365" y="385955"/>
            <a:ext cx="768310" cy="768310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783320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2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4.40572637688659174415E+00&quot;&gt;&lt;m_msothmcolidx val=&quot;0&quot;/&gt;&lt;m_rgb r=&quot;00&quot; g=&quot;7A&quot; b=&quot;33&quot;/&gt;&lt;/elem&gt;&lt;elem m_fUsage=&quot;3.91159867905351088524E+00&quot;&gt;&lt;m_msothmcolidx val=&quot;0&quot;/&gt;&lt;m_rgb r=&quot;7E&quot; g=&quot;FF&quot; b=&quot;45&quot;/&gt;&lt;/elem&gt;&lt;elem m_fUsage=&quot;5.90490000000000181402E-01&quot;&gt;&lt;m_msothmcolidx val=&quot;0&quot;/&gt;&lt;m_rgb r=&quot;8B&quot; g=&quot;73&quot; b=&quot;FF&quot;/&gt;&lt;/elem&gt;&lt;elem m_fUsage=&quot;2.05891132094649098594E-01&quot;&gt;&lt;m_msothmcolidx val=&quot;0&quot;/&gt;&lt;m_rgb r=&quot;EA&quot; g=&quot;EA&quot; b=&quot;DE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Gds3HDlNTNGWZZwrZhX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Gds3HDlNTNGWZZwrZhX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Gds3HDlNTNGWZZwrZhX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bpFlyrysi53s0z0SJG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oU7VeVjJjTToeMg_yY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2_THd53DwQoYUtJwVsp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0jjl50SSCq3ijz1KkK7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A5XPePmQKBijDHX2wjN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Mx9aPvtLMsVhbMPgRH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Ywzu_xIhMm5EbV563L9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bTPesPgkDEYICi1unlO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RR7AUAYaHt3LabjHJEG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ECSDaOzAFGE8z0UGNVH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ybzjQxZlaEv4mEFCcGJ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kYFaUzMm_hOaQ3Ohqp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5wTvh7A0PMtCYHw7Uiz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g7lgRhLit3Ex1k8JYPI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4bYVqNE3nowdV9P5brC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T1KAmo.LupiZW90gnMF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3guXQv7QiPUmtL.YrBH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jIbbk0ryY8doX5fSsr0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e3ftJn24p2SR8NaGwal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L8TDB4GyIrf4rFqvYh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Y7512g37Kt9s.4Dg9Ou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0QLWmW2DuHH0vMx7cc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tdssW7o__jB0OevwlqY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5n683OyPRN5JXZrczW2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rjdjetKDerISGZaSU09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me6fINWMydDR4JrNL12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H6JhkXzDCauMBDghnVb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AAHkRfj4uJzBwcW8m.V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KV_FjA2cIBkGJYOSqH2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c.49N7ITRBDT1ZBeuar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yQoaQTEgLwG66_3EZh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XIoT5SH8fX9YAaCfe9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DlfbHZorkydpbzvGfX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LcOW_YREd3k6KoCylsI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ZXRCMAXIbiBS1_df6c_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X9Gr4UZuvZfX2VKfBQg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1iA0wMx0F0_h.mMRYF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DmzA9kzHQjl8.jX9b5V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P2XmuNBHC3_j3L6_SqU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b7o3fUy7bPvZhkvPZwN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X5_rlAEVq5ZtlwyH7_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BVkC3kyeSLmv5jnjmi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if68jz_pY6fiGw2jDZH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wamx.Me7yRisKS7.tvP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azdMJcSV6Y1UD2xpNct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WBj4Ccr_6x7T1u3m2M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hH4skclFhixk3W.Cs.U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hH4skclFhixk3W.Cs.U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hH4skclFhixk3W.Cs.U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3DwxP4Q2xOFQxEV8eXy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2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ntenido_Achs_Salud">
  <a:themeElements>
    <a:clrScheme name="Achs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348FFF"/>
      </a:accent4>
      <a:accent5>
        <a:srgbClr val="8B73FF"/>
      </a:accent5>
      <a:accent6>
        <a:srgbClr val="002A6C"/>
      </a:accent6>
      <a:hlink>
        <a:srgbClr val="7EFF45"/>
      </a:hlink>
      <a:folHlink>
        <a:srgbClr val="14117C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lIns="0" tIns="0" rIns="0" bIns="0" rtlCol="0" anchor="t" anchorCtr="0"/>
      <a:lstStyle>
        <a:defPPr algn="l">
          <a:defRPr sz="14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Firm Format - template_Blue">
  <a:themeElements>
    <a:clrScheme name="Templete ACHS - QA0798">
      <a:dk1>
        <a:srgbClr val="000000"/>
      </a:dk1>
      <a:lt1>
        <a:srgbClr val="FFFFFF"/>
      </a:lt1>
      <a:dk2>
        <a:srgbClr val="3F3F3F"/>
      </a:dk2>
      <a:lt2>
        <a:srgbClr val="FFFFFF"/>
      </a:lt2>
      <a:accent1>
        <a:srgbClr val="D5DDD7"/>
      </a:accent1>
      <a:accent2>
        <a:srgbClr val="057835"/>
      </a:accent2>
      <a:accent3>
        <a:srgbClr val="80BC04"/>
      </a:accent3>
      <a:accent4>
        <a:srgbClr val="00B2A9"/>
      </a:accent4>
      <a:accent5>
        <a:srgbClr val="006983"/>
      </a:accent5>
      <a:accent6>
        <a:srgbClr val="808080"/>
      </a:accent6>
      <a:hlink>
        <a:srgbClr val="80BC04"/>
      </a:hlink>
      <a:folHlink>
        <a:srgbClr val="00B2A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.potx" id="{13C89596-CA46-49FE-8759-AF466791A752}" vid="{129FEF66-2A94-41F7-B48D-E9EEFD99D971}"/>
    </a:ext>
  </a:extLst>
</a:theme>
</file>

<file path=ppt/theme/theme5.xml><?xml version="1.0" encoding="utf-8"?>
<a:theme xmlns:a="http://schemas.openxmlformats.org/drawingml/2006/main" name="30_Contenido_Achs">
  <a:themeElements>
    <a:clrScheme name="Achs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348FFF"/>
      </a:accent4>
      <a:accent5>
        <a:srgbClr val="8B73FF"/>
      </a:accent5>
      <a:accent6>
        <a:srgbClr val="002A6C"/>
      </a:accent6>
      <a:hlink>
        <a:srgbClr val="7EFF45"/>
      </a:hlink>
      <a:folHlink>
        <a:srgbClr val="14117C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941E1DF07FBF4FA9E520C846427819" ma:contentTypeVersion="16" ma:contentTypeDescription="Create a new document." ma:contentTypeScope="" ma:versionID="bd2d728ff91bc12b9d3a87b85e58b24f">
  <xsd:schema xmlns:xsd="http://www.w3.org/2001/XMLSchema" xmlns:xs="http://www.w3.org/2001/XMLSchema" xmlns:p="http://schemas.microsoft.com/office/2006/metadata/properties" xmlns:ns2="5645649b-04a6-44ce-9ae0-d215d366b212" xmlns:ns3="05280975-b1b1-426a-9a5b-78634b41cf23" targetNamespace="http://schemas.microsoft.com/office/2006/metadata/properties" ma:root="true" ma:fieldsID="5673e89e9f9b945acffa4eec54fa8709" ns2:_="" ns3:_="">
    <xsd:import namespace="5645649b-04a6-44ce-9ae0-d215d366b212"/>
    <xsd:import namespace="05280975-b1b1-426a-9a5b-78634b41cf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45649b-04a6-44ce-9ae0-d215d366b21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280975-b1b1-426a-9a5b-78634b41cf2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8c34954b-05ea-4e9f-b988-8d5726c1f93a}" ma:internalName="TaxCatchAll" ma:showField="CatchAllData" ma:web="05280975-b1b1-426a-9a5b-78634b41cf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5280975-b1b1-426a-9a5b-78634b41cf23" xsi:nil="true"/>
    <lcf76f155ced4ddcb4097134ff3c332f xmlns="5645649b-04a6-44ce-9ae0-d215d366b212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824838D-BA8A-4A93-92E2-F41CBE6214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45649b-04a6-44ce-9ae0-d215d366b212"/>
    <ds:schemaRef ds:uri="05280975-b1b1-426a-9a5b-78634b41cf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773F5AC-98C6-45B3-85C1-D080F0157781}">
  <ds:schemaRefs>
    <ds:schemaRef ds:uri="05280975-b1b1-426a-9a5b-78634b41cf23"/>
    <ds:schemaRef ds:uri="5645649b-04a6-44ce-9ae0-d215d366b21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BB1C397-30C9-4783-8BB5-ED2F59AD3DF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9</TotalTime>
  <Words>108</Words>
  <Application>Microsoft Office PowerPoint</Application>
  <PresentationFormat>Panorámica</PresentationFormat>
  <Paragraphs>33</Paragraphs>
  <Slides>2</Slides>
  <Notes>1</Notes>
  <HiddenSlides>1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16" baseType="lpstr">
      <vt:lpstr>.Lucida Grande UI Regular</vt:lpstr>
      <vt:lpstr>Arial</vt:lpstr>
      <vt:lpstr>Arial Nova Light</vt:lpstr>
      <vt:lpstr>Calibri</vt:lpstr>
      <vt:lpstr>Courier New</vt:lpstr>
      <vt:lpstr>Helvetica Neue Medium</vt:lpstr>
      <vt:lpstr>Roboto Condensed Light</vt:lpstr>
      <vt:lpstr>Wingdings</vt:lpstr>
      <vt:lpstr>21_BasicWhite</vt:lpstr>
      <vt:lpstr>Tema de Office</vt:lpstr>
      <vt:lpstr>1_Contenido_Achs_Salud</vt:lpstr>
      <vt:lpstr>1_Firm Format - template_Blue</vt:lpstr>
      <vt:lpstr>30_Contenido_Achs</vt:lpstr>
      <vt:lpstr>Diapositiva de think-cell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Brinkmann Bennett, Ricardo Andrés</dc:creator>
  <cp:lastModifiedBy>consuelo Martínez</cp:lastModifiedBy>
  <cp:revision>23</cp:revision>
  <dcterms:created xsi:type="dcterms:W3CDTF">2023-07-11T18:42:32Z</dcterms:created>
  <dcterms:modified xsi:type="dcterms:W3CDTF">2024-09-02T23:4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941E1DF07FBF4FA9E520C846427819</vt:lpwstr>
  </property>
  <property fmtid="{D5CDD505-2E9C-101B-9397-08002B2CF9AE}" pid="3" name="MediaServiceImageTags">
    <vt:lpwstr/>
  </property>
</Properties>
</file>